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4"/>
  </p:notesMasterIdLst>
  <p:sldIdLst>
    <p:sldId id="257" r:id="rId5"/>
    <p:sldId id="2407" r:id="rId6"/>
    <p:sldId id="258" r:id="rId7"/>
    <p:sldId id="260" r:id="rId8"/>
    <p:sldId id="2577" r:id="rId9"/>
    <p:sldId id="2580" r:id="rId10"/>
    <p:sldId id="2578" r:id="rId11"/>
    <p:sldId id="259" r:id="rId12"/>
    <p:sldId id="588" r:id="rId13"/>
  </p:sldIdLst>
  <p:sldSz cx="20104100" cy="11309350"/>
  <p:notesSz cx="20104100" cy="1130935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4" userDrawn="1">
          <p15:clr>
            <a:srgbClr val="A4A3A4"/>
          </p15:clr>
        </p15:guide>
        <p15:guide id="2" pos="2159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8374CAF-320D-016D-2C42-4C7DEB25CD63}" name="Kelly Felix" initials="KF" userId="S::kelly.felix@abconsindcon.com.br::9383efe9-9478-4bf2-8b49-d39626426c7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C42E"/>
    <a:srgbClr val="62A8A4"/>
    <a:srgbClr val="BFBFBF"/>
    <a:srgbClr val="2A798E"/>
    <a:srgbClr val="A6A6A6"/>
    <a:srgbClr val="948A54"/>
    <a:srgbClr val="8D683A"/>
    <a:srgbClr val="FFFFFF"/>
    <a:srgbClr val="348FB5"/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5DDCCF-4797-4E8D-B2F7-4AE9F798F47C}" v="4" dt="2023-09-14T22:06:01.57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Estilo Claro 2 - Ênfase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Estilo Médio 1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162" autoAdjust="0"/>
  </p:normalViewPr>
  <p:slideViewPr>
    <p:cSldViewPr snapToGrid="0">
      <p:cViewPr varScale="1">
        <p:scale>
          <a:sx n="53" d="100"/>
          <a:sy n="53" d="100"/>
        </p:scale>
        <p:origin x="690" y="108"/>
      </p:cViewPr>
      <p:guideLst>
        <p:guide orient="horz" pos="2904"/>
        <p:guide pos="215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ana Ferreira" userId="ef46969b-0d75-4852-a2b0-2fc45c93ff40" providerId="ADAL" clId="{625DDCCF-4797-4E8D-B2F7-4AE9F798F47C}"/>
    <pc:docChg chg="undo custSel addSld delSld modSld">
      <pc:chgData name="Ilana Ferreira" userId="ef46969b-0d75-4852-a2b0-2fc45c93ff40" providerId="ADAL" clId="{625DDCCF-4797-4E8D-B2F7-4AE9F798F47C}" dt="2023-09-19T12:25:46.624" v="717" actId="113"/>
      <pc:docMkLst>
        <pc:docMk/>
      </pc:docMkLst>
      <pc:sldChg chg="modSp mod">
        <pc:chgData name="Ilana Ferreira" userId="ef46969b-0d75-4852-a2b0-2fc45c93ff40" providerId="ADAL" clId="{625DDCCF-4797-4E8D-B2F7-4AE9F798F47C}" dt="2023-09-18T22:39:20.213" v="604" actId="20577"/>
        <pc:sldMkLst>
          <pc:docMk/>
          <pc:sldMk cId="322007045" sldId="257"/>
        </pc:sldMkLst>
        <pc:spChg chg="mod">
          <ac:chgData name="Ilana Ferreira" userId="ef46969b-0d75-4852-a2b0-2fc45c93ff40" providerId="ADAL" clId="{625DDCCF-4797-4E8D-B2F7-4AE9F798F47C}" dt="2023-09-18T22:39:20.213" v="604" actId="20577"/>
          <ac:spMkLst>
            <pc:docMk/>
            <pc:sldMk cId="322007045" sldId="257"/>
            <ac:spMk id="9" creationId="{7883D559-BE0A-477E-A9F2-7767F2E5F1A9}"/>
          </ac:spMkLst>
        </pc:spChg>
      </pc:sldChg>
      <pc:sldChg chg="modSp mod">
        <pc:chgData name="Ilana Ferreira" userId="ef46969b-0d75-4852-a2b0-2fc45c93ff40" providerId="ADAL" clId="{625DDCCF-4797-4E8D-B2F7-4AE9F798F47C}" dt="2023-09-18T22:39:44.935" v="635" actId="20577"/>
        <pc:sldMkLst>
          <pc:docMk/>
          <pc:sldMk cId="3125512719" sldId="260"/>
        </pc:sldMkLst>
        <pc:spChg chg="mod">
          <ac:chgData name="Ilana Ferreira" userId="ef46969b-0d75-4852-a2b0-2fc45c93ff40" providerId="ADAL" clId="{625DDCCF-4797-4E8D-B2F7-4AE9F798F47C}" dt="2023-09-18T22:39:44.935" v="635" actId="20577"/>
          <ac:spMkLst>
            <pc:docMk/>
            <pc:sldMk cId="3125512719" sldId="260"/>
            <ac:spMk id="3087" creationId="{600C7D37-E7DA-8765-7AFE-9736C4FC047E}"/>
          </ac:spMkLst>
        </pc:spChg>
      </pc:sldChg>
      <pc:sldChg chg="modSp mod">
        <pc:chgData name="Ilana Ferreira" userId="ef46969b-0d75-4852-a2b0-2fc45c93ff40" providerId="ADAL" clId="{625DDCCF-4797-4E8D-B2F7-4AE9F798F47C}" dt="2023-09-14T21:59:30.343" v="52" actId="20577"/>
        <pc:sldMkLst>
          <pc:docMk/>
          <pc:sldMk cId="740371909" sldId="2407"/>
        </pc:sldMkLst>
        <pc:spChg chg="mod">
          <ac:chgData name="Ilana Ferreira" userId="ef46969b-0d75-4852-a2b0-2fc45c93ff40" providerId="ADAL" clId="{625DDCCF-4797-4E8D-B2F7-4AE9F798F47C}" dt="2023-09-14T21:59:30.343" v="52" actId="20577"/>
          <ac:spMkLst>
            <pc:docMk/>
            <pc:sldMk cId="740371909" sldId="2407"/>
            <ac:spMk id="6" creationId="{65480DC8-E2E0-EF43-9F0E-4B96AD428586}"/>
          </ac:spMkLst>
        </pc:spChg>
      </pc:sldChg>
      <pc:sldChg chg="modSp mod">
        <pc:chgData name="Ilana Ferreira" userId="ef46969b-0d75-4852-a2b0-2fc45c93ff40" providerId="ADAL" clId="{625DDCCF-4797-4E8D-B2F7-4AE9F798F47C}" dt="2023-09-18T22:10:13.721" v="539" actId="6549"/>
        <pc:sldMkLst>
          <pc:docMk/>
          <pc:sldMk cId="284599729" sldId="2577"/>
        </pc:sldMkLst>
        <pc:spChg chg="mod">
          <ac:chgData name="Ilana Ferreira" userId="ef46969b-0d75-4852-a2b0-2fc45c93ff40" providerId="ADAL" clId="{625DDCCF-4797-4E8D-B2F7-4AE9F798F47C}" dt="2023-09-18T22:10:13.721" v="539" actId="6549"/>
          <ac:spMkLst>
            <pc:docMk/>
            <pc:sldMk cId="284599729" sldId="2577"/>
            <ac:spMk id="17" creationId="{9F56BEC4-F5DD-0E0A-29DD-ACAFB7D9E2F9}"/>
          </ac:spMkLst>
        </pc:spChg>
      </pc:sldChg>
      <pc:sldChg chg="modSp mod">
        <pc:chgData name="Ilana Ferreira" userId="ef46969b-0d75-4852-a2b0-2fc45c93ff40" providerId="ADAL" clId="{625DDCCF-4797-4E8D-B2F7-4AE9F798F47C}" dt="2023-09-19T12:25:46.624" v="717" actId="113"/>
        <pc:sldMkLst>
          <pc:docMk/>
          <pc:sldMk cId="548847803" sldId="2578"/>
        </pc:sldMkLst>
        <pc:spChg chg="mod">
          <ac:chgData name="Ilana Ferreira" userId="ef46969b-0d75-4852-a2b0-2fc45c93ff40" providerId="ADAL" clId="{625DDCCF-4797-4E8D-B2F7-4AE9F798F47C}" dt="2023-09-14T19:44:16.992" v="47" actId="1076"/>
          <ac:spMkLst>
            <pc:docMk/>
            <pc:sldMk cId="548847803" sldId="2578"/>
            <ac:spMk id="6" creationId="{0BFCC78C-1613-3158-FE30-EC8BD4CE0BA0}"/>
          </ac:spMkLst>
        </pc:spChg>
        <pc:spChg chg="mod">
          <ac:chgData name="Ilana Ferreira" userId="ef46969b-0d75-4852-a2b0-2fc45c93ff40" providerId="ADAL" clId="{625DDCCF-4797-4E8D-B2F7-4AE9F798F47C}" dt="2023-09-19T12:25:46.624" v="717" actId="113"/>
          <ac:spMkLst>
            <pc:docMk/>
            <pc:sldMk cId="548847803" sldId="2578"/>
            <ac:spMk id="9" creationId="{E780335F-07B7-2D12-464A-FEDD360E8340}"/>
          </ac:spMkLst>
        </pc:spChg>
        <pc:graphicFrameChg chg="modGraphic">
          <ac:chgData name="Ilana Ferreira" userId="ef46969b-0d75-4852-a2b0-2fc45c93ff40" providerId="ADAL" clId="{625DDCCF-4797-4E8D-B2F7-4AE9F798F47C}" dt="2023-09-18T22:35:58.909" v="597" actId="14100"/>
          <ac:graphicFrameMkLst>
            <pc:docMk/>
            <pc:sldMk cId="548847803" sldId="2578"/>
            <ac:graphicFrameMk id="4" creationId="{6C94C42D-9EEF-F9E2-597E-8985A4627464}"/>
          </ac:graphicFrameMkLst>
        </pc:graphicFrameChg>
        <pc:picChg chg="mod">
          <ac:chgData name="Ilana Ferreira" userId="ef46969b-0d75-4852-a2b0-2fc45c93ff40" providerId="ADAL" clId="{625DDCCF-4797-4E8D-B2F7-4AE9F798F47C}" dt="2023-09-14T19:44:13.835" v="46" actId="1076"/>
          <ac:picMkLst>
            <pc:docMk/>
            <pc:sldMk cId="548847803" sldId="2578"/>
            <ac:picMk id="8" creationId="{C693A8EB-3400-34C3-A27F-FD9F5C5BADE4}"/>
          </ac:picMkLst>
        </pc:picChg>
      </pc:sldChg>
      <pc:sldChg chg="new del">
        <pc:chgData name="Ilana Ferreira" userId="ef46969b-0d75-4852-a2b0-2fc45c93ff40" providerId="ADAL" clId="{625DDCCF-4797-4E8D-B2F7-4AE9F798F47C}" dt="2023-09-14T22:04:53.853" v="377" actId="47"/>
        <pc:sldMkLst>
          <pc:docMk/>
          <pc:sldMk cId="27610632" sldId="2579"/>
        </pc:sldMkLst>
      </pc:sldChg>
      <pc:sldChg chg="addSp delSp modSp add mod modShow">
        <pc:chgData name="Ilana Ferreira" userId="ef46969b-0d75-4852-a2b0-2fc45c93ff40" providerId="ADAL" clId="{625DDCCF-4797-4E8D-B2F7-4AE9F798F47C}" dt="2023-09-18T22:10:24.115" v="540" actId="729"/>
        <pc:sldMkLst>
          <pc:docMk/>
          <pc:sldMk cId="2788274229" sldId="2580"/>
        </pc:sldMkLst>
        <pc:spChg chg="add mod">
          <ac:chgData name="Ilana Ferreira" userId="ef46969b-0d75-4852-a2b0-2fc45c93ff40" providerId="ADAL" clId="{625DDCCF-4797-4E8D-B2F7-4AE9F798F47C}" dt="2023-09-14T22:05:12.222" v="381" actId="1076"/>
          <ac:spMkLst>
            <pc:docMk/>
            <pc:sldMk cId="2788274229" sldId="2580"/>
            <ac:spMk id="2" creationId="{414E951F-D09F-BE9E-45EF-F853277AB32B}"/>
          </ac:spMkLst>
        </pc:spChg>
        <pc:spChg chg="mod">
          <ac:chgData name="Ilana Ferreira" userId="ef46969b-0d75-4852-a2b0-2fc45c93ff40" providerId="ADAL" clId="{625DDCCF-4797-4E8D-B2F7-4AE9F798F47C}" dt="2023-09-14T22:05:15.728" v="382" actId="6549"/>
          <ac:spMkLst>
            <pc:docMk/>
            <pc:sldMk cId="2788274229" sldId="2580"/>
            <ac:spMk id="17" creationId="{9F56BEC4-F5DD-0E0A-29DD-ACAFB7D9E2F9}"/>
          </ac:spMkLst>
        </pc:spChg>
        <pc:spChg chg="mod">
          <ac:chgData name="Ilana Ferreira" userId="ef46969b-0d75-4852-a2b0-2fc45c93ff40" providerId="ADAL" clId="{625DDCCF-4797-4E8D-B2F7-4AE9F798F47C}" dt="2023-09-14T22:02:47.408" v="164" actId="14100"/>
          <ac:spMkLst>
            <pc:docMk/>
            <pc:sldMk cId="2788274229" sldId="2580"/>
            <ac:spMk id="22" creationId="{B3E161EF-8694-A1BD-2FFF-B3788D97C915}"/>
          </ac:spMkLst>
        </pc:spChg>
        <pc:graphicFrameChg chg="add mod modGraphic">
          <ac:chgData name="Ilana Ferreira" userId="ef46969b-0d75-4852-a2b0-2fc45c93ff40" providerId="ADAL" clId="{625DDCCF-4797-4E8D-B2F7-4AE9F798F47C}" dt="2023-09-14T22:08:20.283" v="516" actId="1076"/>
          <ac:graphicFrameMkLst>
            <pc:docMk/>
            <pc:sldMk cId="2788274229" sldId="2580"/>
            <ac:graphicFrameMk id="3" creationId="{4E79AA0A-B34D-868F-2D7E-740228660300}"/>
          </ac:graphicFrameMkLst>
        </pc:graphicFrameChg>
        <pc:picChg chg="add del mod">
          <ac:chgData name="Ilana Ferreira" userId="ef46969b-0d75-4852-a2b0-2fc45c93ff40" providerId="ADAL" clId="{625DDCCF-4797-4E8D-B2F7-4AE9F798F47C}" dt="2023-09-14T22:07:31.042" v="500" actId="478"/>
          <ac:picMkLst>
            <pc:docMk/>
            <pc:sldMk cId="2788274229" sldId="2580"/>
            <ac:picMk id="5" creationId="{9A1497D3-55E1-F4DF-DB63-3D21FAF76728}"/>
          </ac:picMkLst>
        </pc:picChg>
      </pc:sldChg>
      <pc:sldChg chg="add del mod modShow">
        <pc:chgData name="Ilana Ferreira" userId="ef46969b-0d75-4852-a2b0-2fc45c93ff40" providerId="ADAL" clId="{625DDCCF-4797-4E8D-B2F7-4AE9F798F47C}" dt="2023-09-18T22:38:20.123" v="600" actId="47"/>
        <pc:sldMkLst>
          <pc:docMk/>
          <pc:sldMk cId="380709855" sldId="2581"/>
        </pc:sldMkLst>
      </pc:sldChg>
      <pc:sldChg chg="add del">
        <pc:chgData name="Ilana Ferreira" userId="ef46969b-0d75-4852-a2b0-2fc45c93ff40" providerId="ADAL" clId="{625DDCCF-4797-4E8D-B2F7-4AE9F798F47C}" dt="2023-09-14T22:05:22.886" v="384" actId="47"/>
        <pc:sldMkLst>
          <pc:docMk/>
          <pc:sldMk cId="2429687107" sldId="2581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12ED0D-EE8C-4690-AF2A-790E5D0F6DEB}" type="datetimeFigureOut">
              <a:rPr lang="pt-BR" smtClean="0"/>
              <a:t>19/09/2023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A705EC-9B88-4B9B-A6E4-1852BA1B27DE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43968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7E845B-25A8-41FF-8B7F-F757832F7D4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228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3">
            <a:extLst>
              <a:ext uri="{FF2B5EF4-FFF2-40B4-BE49-F238E27FC236}">
                <a16:creationId xmlns:a16="http://schemas.microsoft.com/office/drawing/2014/main" xmlns="" id="{12B29877-6682-EF84-3404-268D44C8154B}"/>
              </a:ext>
            </a:extLst>
          </p:cNvPr>
          <p:cNvGrpSpPr/>
          <p:nvPr userDrawn="1"/>
        </p:nvGrpSpPr>
        <p:grpSpPr>
          <a:xfrm>
            <a:off x="946044" y="10638419"/>
            <a:ext cx="15751175" cy="670560"/>
            <a:chOff x="946044" y="10638419"/>
            <a:chExt cx="15751175" cy="670560"/>
          </a:xfrm>
        </p:grpSpPr>
        <p:pic>
          <p:nvPicPr>
            <p:cNvPr id="8" name="object 4">
              <a:extLst>
                <a:ext uri="{FF2B5EF4-FFF2-40B4-BE49-F238E27FC236}">
                  <a16:creationId xmlns:a16="http://schemas.microsoft.com/office/drawing/2014/main" xmlns="" id="{529B37D5-90C8-7051-0608-3D4614C001FF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188760" y="10638419"/>
              <a:ext cx="14508356" cy="670136"/>
            </a:xfrm>
            <a:prstGeom prst="rect">
              <a:avLst/>
            </a:prstGeom>
          </p:spPr>
        </p:pic>
        <p:sp>
          <p:nvSpPr>
            <p:cNvPr id="9" name="object 5">
              <a:extLst>
                <a:ext uri="{FF2B5EF4-FFF2-40B4-BE49-F238E27FC236}">
                  <a16:creationId xmlns:a16="http://schemas.microsoft.com/office/drawing/2014/main" xmlns="" id="{6E847B01-8828-7FA2-CEC8-8E0F9CF247DD}"/>
                </a:ext>
              </a:extLst>
            </p:cNvPr>
            <p:cNvSpPr/>
            <p:nvPr/>
          </p:nvSpPr>
          <p:spPr>
            <a:xfrm>
              <a:off x="946044" y="10638419"/>
              <a:ext cx="3729990" cy="136525"/>
            </a:xfrm>
            <a:custGeom>
              <a:avLst/>
              <a:gdLst/>
              <a:ahLst/>
              <a:cxnLst/>
              <a:rect l="l" t="t" r="r" b="b"/>
              <a:pathLst>
                <a:path w="3729990" h="136525">
                  <a:moveTo>
                    <a:pt x="3729938" y="0"/>
                  </a:moveTo>
                  <a:lnTo>
                    <a:pt x="0" y="0"/>
                  </a:lnTo>
                  <a:lnTo>
                    <a:pt x="0" y="136121"/>
                  </a:lnTo>
                  <a:lnTo>
                    <a:pt x="3729938" y="136121"/>
                  </a:lnTo>
                  <a:lnTo>
                    <a:pt x="37299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0" name="object 6">
            <a:extLst>
              <a:ext uri="{FF2B5EF4-FFF2-40B4-BE49-F238E27FC236}">
                <a16:creationId xmlns:a16="http://schemas.microsoft.com/office/drawing/2014/main" xmlns="" id="{30586AA1-ED49-731B-85A9-11B643688030}"/>
              </a:ext>
            </a:extLst>
          </p:cNvPr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-17495"/>
            <a:ext cx="16738807" cy="732961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xmlns="" id="{83A74078-2056-35EA-BF8A-FC8D6E0D17C9}"/>
              </a:ext>
            </a:extLst>
          </p:cNvPr>
          <p:cNvGrpSpPr/>
          <p:nvPr userDrawn="1"/>
        </p:nvGrpSpPr>
        <p:grpSpPr>
          <a:xfrm>
            <a:off x="16262723" y="193935"/>
            <a:ext cx="3379280" cy="4518212"/>
            <a:chOff x="15528259" y="425515"/>
            <a:chExt cx="4003675" cy="5353050"/>
          </a:xfrm>
        </p:grpSpPr>
        <p:grpSp>
          <p:nvGrpSpPr>
            <p:cNvPr id="12" name="object 25">
              <a:extLst>
                <a:ext uri="{FF2B5EF4-FFF2-40B4-BE49-F238E27FC236}">
                  <a16:creationId xmlns:a16="http://schemas.microsoft.com/office/drawing/2014/main" xmlns="" id="{7747086C-8AD4-FB01-47DA-2C2D2ABB3EAF}"/>
                </a:ext>
              </a:extLst>
            </p:cNvPr>
            <p:cNvGrpSpPr/>
            <p:nvPr/>
          </p:nvGrpSpPr>
          <p:grpSpPr>
            <a:xfrm>
              <a:off x="17022345" y="437057"/>
              <a:ext cx="758114" cy="783009"/>
              <a:chOff x="5516224" y="1909393"/>
              <a:chExt cx="1198880" cy="1238250"/>
            </a:xfrm>
          </p:grpSpPr>
          <p:sp>
            <p:nvSpPr>
              <p:cNvPr id="26" name="object 26">
                <a:extLst>
                  <a:ext uri="{FF2B5EF4-FFF2-40B4-BE49-F238E27FC236}">
                    <a16:creationId xmlns:a16="http://schemas.microsoft.com/office/drawing/2014/main" xmlns="" id="{1D95178E-EFFE-D2B0-91ED-7BC77DC43E43}"/>
                  </a:ext>
                </a:extLst>
              </p:cNvPr>
              <p:cNvSpPr/>
              <p:nvPr/>
            </p:nvSpPr>
            <p:spPr>
              <a:xfrm>
                <a:off x="5531218" y="2347384"/>
                <a:ext cx="1060450" cy="629920"/>
              </a:xfrm>
              <a:custGeom>
                <a:avLst/>
                <a:gdLst/>
                <a:ahLst/>
                <a:cxnLst/>
                <a:rect l="l" t="t" r="r" b="b"/>
                <a:pathLst>
                  <a:path w="1060450" h="629919">
                    <a:moveTo>
                      <a:pt x="400850" y="629767"/>
                    </a:moveTo>
                    <a:lnTo>
                      <a:pt x="355193" y="613117"/>
                    </a:lnTo>
                    <a:lnTo>
                      <a:pt x="310984" y="593521"/>
                    </a:lnTo>
                    <a:lnTo>
                      <a:pt x="268376" y="571068"/>
                    </a:lnTo>
                    <a:lnTo>
                      <a:pt x="227482" y="545884"/>
                    </a:lnTo>
                    <a:lnTo>
                      <a:pt x="188442" y="518045"/>
                    </a:lnTo>
                    <a:lnTo>
                      <a:pt x="151358" y="487680"/>
                    </a:lnTo>
                    <a:lnTo>
                      <a:pt x="116382" y="454875"/>
                    </a:lnTo>
                    <a:lnTo>
                      <a:pt x="83629" y="419747"/>
                    </a:lnTo>
                    <a:lnTo>
                      <a:pt x="53238" y="382384"/>
                    </a:lnTo>
                    <a:lnTo>
                      <a:pt x="25311" y="342900"/>
                    </a:lnTo>
                    <a:lnTo>
                      <a:pt x="0" y="301409"/>
                    </a:lnTo>
                    <a:lnTo>
                      <a:pt x="8026" y="321119"/>
                    </a:lnTo>
                    <a:lnTo>
                      <a:pt x="30365" y="363207"/>
                    </a:lnTo>
                    <a:lnTo>
                      <a:pt x="55968" y="402945"/>
                    </a:lnTo>
                    <a:lnTo>
                      <a:pt x="84620" y="440182"/>
                    </a:lnTo>
                    <a:lnTo>
                      <a:pt x="116141" y="474764"/>
                    </a:lnTo>
                    <a:lnTo>
                      <a:pt x="150342" y="506539"/>
                    </a:lnTo>
                    <a:lnTo>
                      <a:pt x="187020" y="535368"/>
                    </a:lnTo>
                    <a:lnTo>
                      <a:pt x="225983" y="561073"/>
                    </a:lnTo>
                    <a:lnTo>
                      <a:pt x="267042" y="583514"/>
                    </a:lnTo>
                    <a:lnTo>
                      <a:pt x="310007" y="602551"/>
                    </a:lnTo>
                    <a:lnTo>
                      <a:pt x="354672" y="618020"/>
                    </a:lnTo>
                    <a:lnTo>
                      <a:pt x="400850" y="629767"/>
                    </a:lnTo>
                    <a:close/>
                  </a:path>
                  <a:path w="1060450" h="629919">
                    <a:moveTo>
                      <a:pt x="1059942" y="290334"/>
                    </a:moveTo>
                    <a:lnTo>
                      <a:pt x="1055471" y="245808"/>
                    </a:lnTo>
                    <a:lnTo>
                      <a:pt x="1044270" y="202488"/>
                    </a:lnTo>
                    <a:lnTo>
                      <a:pt x="1026490" y="161201"/>
                    </a:lnTo>
                    <a:lnTo>
                      <a:pt x="1002296" y="122783"/>
                    </a:lnTo>
                    <a:lnTo>
                      <a:pt x="971829" y="88074"/>
                    </a:lnTo>
                    <a:lnTo>
                      <a:pt x="934440" y="57353"/>
                    </a:lnTo>
                    <a:lnTo>
                      <a:pt x="894638" y="32372"/>
                    </a:lnTo>
                    <a:lnTo>
                      <a:pt x="852487" y="14566"/>
                    </a:lnTo>
                    <a:lnTo>
                      <a:pt x="808824" y="3822"/>
                    </a:lnTo>
                    <a:lnTo>
                      <a:pt x="764451" y="0"/>
                    </a:lnTo>
                    <a:lnTo>
                      <a:pt x="720229" y="3009"/>
                    </a:lnTo>
                    <a:lnTo>
                      <a:pt x="676973" y="12712"/>
                    </a:lnTo>
                    <a:lnTo>
                      <a:pt x="635520" y="28981"/>
                    </a:lnTo>
                    <a:lnTo>
                      <a:pt x="596709" y="51714"/>
                    </a:lnTo>
                    <a:lnTo>
                      <a:pt x="561365" y="80784"/>
                    </a:lnTo>
                    <a:lnTo>
                      <a:pt x="530326" y="116052"/>
                    </a:lnTo>
                    <a:lnTo>
                      <a:pt x="505345" y="155854"/>
                    </a:lnTo>
                    <a:lnTo>
                      <a:pt x="487540" y="198005"/>
                    </a:lnTo>
                    <a:lnTo>
                      <a:pt x="476783" y="241668"/>
                    </a:lnTo>
                    <a:lnTo>
                      <a:pt x="472973" y="286042"/>
                    </a:lnTo>
                    <a:lnTo>
                      <a:pt x="475983" y="330263"/>
                    </a:lnTo>
                    <a:lnTo>
                      <a:pt x="485686" y="373519"/>
                    </a:lnTo>
                    <a:lnTo>
                      <a:pt x="501954" y="414959"/>
                    </a:lnTo>
                    <a:lnTo>
                      <a:pt x="524687" y="453771"/>
                    </a:lnTo>
                    <a:lnTo>
                      <a:pt x="553745" y="489115"/>
                    </a:lnTo>
                    <a:lnTo>
                      <a:pt x="589026" y="520153"/>
                    </a:lnTo>
                    <a:lnTo>
                      <a:pt x="635584" y="545744"/>
                    </a:lnTo>
                    <a:lnTo>
                      <a:pt x="684911" y="563816"/>
                    </a:lnTo>
                    <a:lnTo>
                      <a:pt x="736117" y="574243"/>
                    </a:lnTo>
                    <a:lnTo>
                      <a:pt x="788301" y="576948"/>
                    </a:lnTo>
                    <a:lnTo>
                      <a:pt x="840587" y="571779"/>
                    </a:lnTo>
                    <a:lnTo>
                      <a:pt x="892060" y="558647"/>
                    </a:lnTo>
                    <a:lnTo>
                      <a:pt x="956208" y="518922"/>
                    </a:lnTo>
                    <a:lnTo>
                      <a:pt x="1007618" y="463702"/>
                    </a:lnTo>
                    <a:lnTo>
                      <a:pt x="1031532" y="422732"/>
                    </a:lnTo>
                    <a:lnTo>
                      <a:pt x="1048118" y="379628"/>
                    </a:lnTo>
                    <a:lnTo>
                      <a:pt x="1057541" y="335216"/>
                    </a:lnTo>
                    <a:lnTo>
                      <a:pt x="1059942" y="290334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7" name="object 27">
                <a:extLst>
                  <a:ext uri="{FF2B5EF4-FFF2-40B4-BE49-F238E27FC236}">
                    <a16:creationId xmlns:a16="http://schemas.microsoft.com/office/drawing/2014/main" xmlns="" id="{6DD578D3-B201-4037-E281-3139F9233CE9}"/>
                  </a:ext>
                </a:extLst>
              </p:cNvPr>
              <p:cNvSpPr/>
              <p:nvPr/>
            </p:nvSpPr>
            <p:spPr>
              <a:xfrm>
                <a:off x="5516224" y="2762522"/>
                <a:ext cx="979169" cy="385445"/>
              </a:xfrm>
              <a:custGeom>
                <a:avLst/>
                <a:gdLst/>
                <a:ahLst/>
                <a:cxnLst/>
                <a:rect l="l" t="t" r="r" b="b"/>
                <a:pathLst>
                  <a:path w="979170" h="385444">
                    <a:moveTo>
                      <a:pt x="0" y="0"/>
                    </a:moveTo>
                    <a:lnTo>
                      <a:pt x="20290" y="42896"/>
                    </a:lnTo>
                    <a:lnTo>
                      <a:pt x="43336" y="83581"/>
                    </a:lnTo>
                    <a:lnTo>
                      <a:pt x="68975" y="121990"/>
                    </a:lnTo>
                    <a:lnTo>
                      <a:pt x="97047" y="158058"/>
                    </a:lnTo>
                    <a:lnTo>
                      <a:pt x="127391" y="191722"/>
                    </a:lnTo>
                    <a:lnTo>
                      <a:pt x="159844" y="222916"/>
                    </a:lnTo>
                    <a:lnTo>
                      <a:pt x="194246" y="251577"/>
                    </a:lnTo>
                    <a:lnTo>
                      <a:pt x="230435" y="277639"/>
                    </a:lnTo>
                    <a:lnTo>
                      <a:pt x="268250" y="301038"/>
                    </a:lnTo>
                    <a:lnTo>
                      <a:pt x="307529" y="321710"/>
                    </a:lnTo>
                    <a:lnTo>
                      <a:pt x="348112" y="339590"/>
                    </a:lnTo>
                    <a:lnTo>
                      <a:pt x="389837" y="354614"/>
                    </a:lnTo>
                    <a:lnTo>
                      <a:pt x="432542" y="366717"/>
                    </a:lnTo>
                    <a:lnTo>
                      <a:pt x="476066" y="375835"/>
                    </a:lnTo>
                    <a:lnTo>
                      <a:pt x="520248" y="381903"/>
                    </a:lnTo>
                    <a:lnTo>
                      <a:pt x="564927" y="384857"/>
                    </a:lnTo>
                    <a:lnTo>
                      <a:pt x="609941" y="384632"/>
                    </a:lnTo>
                    <a:lnTo>
                      <a:pt x="655129" y="381164"/>
                    </a:lnTo>
                    <a:lnTo>
                      <a:pt x="700330" y="374388"/>
                    </a:lnTo>
                    <a:lnTo>
                      <a:pt x="745381" y="364240"/>
                    </a:lnTo>
                    <a:lnTo>
                      <a:pt x="790123" y="350656"/>
                    </a:lnTo>
                    <a:lnTo>
                      <a:pt x="834393" y="333570"/>
                    </a:lnTo>
                    <a:lnTo>
                      <a:pt x="872602" y="315661"/>
                    </a:lnTo>
                    <a:lnTo>
                      <a:pt x="909498" y="295278"/>
                    </a:lnTo>
                    <a:lnTo>
                      <a:pt x="944961" y="272493"/>
                    </a:lnTo>
                    <a:lnTo>
                      <a:pt x="978870" y="247374"/>
                    </a:lnTo>
                    <a:lnTo>
                      <a:pt x="933713" y="271527"/>
                    </a:lnTo>
                    <a:lnTo>
                      <a:pt x="887254" y="292284"/>
                    </a:lnTo>
                    <a:lnTo>
                      <a:pt x="839681" y="309625"/>
                    </a:lnTo>
                    <a:lnTo>
                      <a:pt x="791180" y="323530"/>
                    </a:lnTo>
                    <a:lnTo>
                      <a:pt x="741940" y="333981"/>
                    </a:lnTo>
                    <a:lnTo>
                      <a:pt x="692146" y="340958"/>
                    </a:lnTo>
                    <a:lnTo>
                      <a:pt x="641987" y="344440"/>
                    </a:lnTo>
                    <a:lnTo>
                      <a:pt x="591649" y="344410"/>
                    </a:lnTo>
                    <a:lnTo>
                      <a:pt x="541320" y="340846"/>
                    </a:lnTo>
                    <a:lnTo>
                      <a:pt x="491188" y="333731"/>
                    </a:lnTo>
                    <a:lnTo>
                      <a:pt x="441438" y="323044"/>
                    </a:lnTo>
                    <a:lnTo>
                      <a:pt x="392260" y="308765"/>
                    </a:lnTo>
                    <a:lnTo>
                      <a:pt x="346148" y="296935"/>
                    </a:lnTo>
                    <a:lnTo>
                      <a:pt x="301551" y="281403"/>
                    </a:lnTo>
                    <a:lnTo>
                      <a:pt x="258660" y="262321"/>
                    </a:lnTo>
                    <a:lnTo>
                      <a:pt x="217668" y="239840"/>
                    </a:lnTo>
                    <a:lnTo>
                      <a:pt x="178765" y="214111"/>
                    </a:lnTo>
                    <a:lnTo>
                      <a:pt x="142146" y="185285"/>
                    </a:lnTo>
                    <a:lnTo>
                      <a:pt x="108000" y="153514"/>
                    </a:lnTo>
                    <a:lnTo>
                      <a:pt x="76521" y="118949"/>
                    </a:lnTo>
                    <a:lnTo>
                      <a:pt x="47899" y="81741"/>
                    </a:lnTo>
                    <a:lnTo>
                      <a:pt x="22328" y="420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8" name="object 28">
                <a:extLst>
                  <a:ext uri="{FF2B5EF4-FFF2-40B4-BE49-F238E27FC236}">
                    <a16:creationId xmlns:a16="http://schemas.microsoft.com/office/drawing/2014/main" xmlns="" id="{8133A8C3-15A8-0C93-B08E-4F32DD07C8D8}"/>
                  </a:ext>
                </a:extLst>
              </p:cNvPr>
              <p:cNvSpPr/>
              <p:nvPr/>
            </p:nvSpPr>
            <p:spPr>
              <a:xfrm>
                <a:off x="5586902" y="1909393"/>
                <a:ext cx="1128395" cy="1124585"/>
              </a:xfrm>
              <a:custGeom>
                <a:avLst/>
                <a:gdLst/>
                <a:ahLst/>
                <a:cxnLst/>
                <a:rect l="l" t="t" r="r" b="b"/>
                <a:pathLst>
                  <a:path w="1128395" h="1124585">
                    <a:moveTo>
                      <a:pt x="559054" y="0"/>
                    </a:moveTo>
                    <a:lnTo>
                      <a:pt x="512772" y="2314"/>
                    </a:lnTo>
                    <a:lnTo>
                      <a:pt x="467133" y="8390"/>
                    </a:lnTo>
                    <a:lnTo>
                      <a:pt x="422354" y="18120"/>
                    </a:lnTo>
                    <a:lnTo>
                      <a:pt x="378650" y="31401"/>
                    </a:lnTo>
                    <a:lnTo>
                      <a:pt x="336175" y="48155"/>
                    </a:lnTo>
                    <a:lnTo>
                      <a:pt x="295324" y="68190"/>
                    </a:lnTo>
                    <a:lnTo>
                      <a:pt x="256132" y="91488"/>
                    </a:lnTo>
                    <a:lnTo>
                      <a:pt x="218874" y="117914"/>
                    </a:lnTo>
                    <a:lnTo>
                      <a:pt x="183766" y="147363"/>
                    </a:lnTo>
                    <a:lnTo>
                      <a:pt x="151021" y="179730"/>
                    </a:lnTo>
                    <a:lnTo>
                      <a:pt x="120855" y="214909"/>
                    </a:lnTo>
                    <a:lnTo>
                      <a:pt x="93483" y="252794"/>
                    </a:lnTo>
                    <a:lnTo>
                      <a:pt x="69120" y="293281"/>
                    </a:lnTo>
                    <a:lnTo>
                      <a:pt x="47981" y="336264"/>
                    </a:lnTo>
                    <a:lnTo>
                      <a:pt x="30280" y="381638"/>
                    </a:lnTo>
                    <a:lnTo>
                      <a:pt x="16284" y="429292"/>
                    </a:lnTo>
                    <a:lnTo>
                      <a:pt x="6627" y="477360"/>
                    </a:lnTo>
                    <a:lnTo>
                      <a:pt x="1226" y="525589"/>
                    </a:lnTo>
                    <a:lnTo>
                      <a:pt x="0" y="573726"/>
                    </a:lnTo>
                    <a:lnTo>
                      <a:pt x="2865" y="621518"/>
                    </a:lnTo>
                    <a:lnTo>
                      <a:pt x="9741" y="668710"/>
                    </a:lnTo>
                    <a:lnTo>
                      <a:pt x="20545" y="715051"/>
                    </a:lnTo>
                    <a:lnTo>
                      <a:pt x="35195" y="760285"/>
                    </a:lnTo>
                    <a:lnTo>
                      <a:pt x="53609" y="804161"/>
                    </a:lnTo>
                    <a:lnTo>
                      <a:pt x="75705" y="846424"/>
                    </a:lnTo>
                    <a:lnTo>
                      <a:pt x="101401" y="886822"/>
                    </a:lnTo>
                    <a:lnTo>
                      <a:pt x="130616" y="925100"/>
                    </a:lnTo>
                    <a:lnTo>
                      <a:pt x="163266" y="961006"/>
                    </a:lnTo>
                    <a:lnTo>
                      <a:pt x="199270" y="994286"/>
                    </a:lnTo>
                    <a:lnTo>
                      <a:pt x="238546" y="1024686"/>
                    </a:lnTo>
                    <a:lnTo>
                      <a:pt x="297385" y="1061172"/>
                    </a:lnTo>
                    <a:lnTo>
                      <a:pt x="360291" y="1090088"/>
                    </a:lnTo>
                    <a:lnTo>
                      <a:pt x="410968" y="1105086"/>
                    </a:lnTo>
                    <a:lnTo>
                      <a:pt x="462493" y="1115779"/>
                    </a:lnTo>
                    <a:lnTo>
                      <a:pt x="514596" y="1122156"/>
                    </a:lnTo>
                    <a:lnTo>
                      <a:pt x="567005" y="1124206"/>
                    </a:lnTo>
                    <a:lnTo>
                      <a:pt x="619447" y="1121919"/>
                    </a:lnTo>
                    <a:lnTo>
                      <a:pt x="671652" y="1115282"/>
                    </a:lnTo>
                    <a:lnTo>
                      <a:pt x="723348" y="1104286"/>
                    </a:lnTo>
                    <a:lnTo>
                      <a:pt x="722887" y="1104286"/>
                    </a:lnTo>
                    <a:lnTo>
                      <a:pt x="768964" y="1083274"/>
                    </a:lnTo>
                    <a:lnTo>
                      <a:pt x="813274" y="1059150"/>
                    </a:lnTo>
                    <a:lnTo>
                      <a:pt x="855671" y="1032032"/>
                    </a:lnTo>
                    <a:lnTo>
                      <a:pt x="862350" y="1027066"/>
                    </a:lnTo>
                    <a:lnTo>
                      <a:pt x="617067" y="1027066"/>
                    </a:lnTo>
                    <a:lnTo>
                      <a:pt x="572256" y="1023952"/>
                    </a:lnTo>
                    <a:lnTo>
                      <a:pt x="527702" y="1016472"/>
                    </a:lnTo>
                    <a:lnTo>
                      <a:pt x="483730" y="1004570"/>
                    </a:lnTo>
                    <a:lnTo>
                      <a:pt x="440668" y="988189"/>
                    </a:lnTo>
                    <a:lnTo>
                      <a:pt x="398841" y="967273"/>
                    </a:lnTo>
                    <a:lnTo>
                      <a:pt x="358574" y="941767"/>
                    </a:lnTo>
                    <a:lnTo>
                      <a:pt x="321066" y="912324"/>
                    </a:lnTo>
                    <a:lnTo>
                      <a:pt x="287366" y="879873"/>
                    </a:lnTo>
                    <a:lnTo>
                      <a:pt x="257532" y="844742"/>
                    </a:lnTo>
                    <a:lnTo>
                      <a:pt x="231618" y="807256"/>
                    </a:lnTo>
                    <a:lnTo>
                      <a:pt x="209681" y="767743"/>
                    </a:lnTo>
                    <a:lnTo>
                      <a:pt x="191777" y="726528"/>
                    </a:lnTo>
                    <a:lnTo>
                      <a:pt x="177962" y="683938"/>
                    </a:lnTo>
                    <a:lnTo>
                      <a:pt x="168293" y="640299"/>
                    </a:lnTo>
                    <a:lnTo>
                      <a:pt x="162825" y="595937"/>
                    </a:lnTo>
                    <a:lnTo>
                      <a:pt x="161615" y="551179"/>
                    </a:lnTo>
                    <a:lnTo>
                      <a:pt x="164719" y="506351"/>
                    </a:lnTo>
                    <a:lnTo>
                      <a:pt x="172193" y="461780"/>
                    </a:lnTo>
                    <a:lnTo>
                      <a:pt x="184093" y="417791"/>
                    </a:lnTo>
                    <a:lnTo>
                      <a:pt x="200476" y="374711"/>
                    </a:lnTo>
                    <a:lnTo>
                      <a:pt x="221397" y="332866"/>
                    </a:lnTo>
                    <a:lnTo>
                      <a:pt x="246912" y="292583"/>
                    </a:lnTo>
                    <a:lnTo>
                      <a:pt x="276356" y="255075"/>
                    </a:lnTo>
                    <a:lnTo>
                      <a:pt x="308807" y="221376"/>
                    </a:lnTo>
                    <a:lnTo>
                      <a:pt x="343938" y="191542"/>
                    </a:lnTo>
                    <a:lnTo>
                      <a:pt x="381424" y="165628"/>
                    </a:lnTo>
                    <a:lnTo>
                      <a:pt x="420937" y="143692"/>
                    </a:lnTo>
                    <a:lnTo>
                      <a:pt x="462152" y="125789"/>
                    </a:lnTo>
                    <a:lnTo>
                      <a:pt x="504743" y="111975"/>
                    </a:lnTo>
                    <a:lnTo>
                      <a:pt x="548382" y="102306"/>
                    </a:lnTo>
                    <a:lnTo>
                      <a:pt x="592744" y="96839"/>
                    </a:lnTo>
                    <a:lnTo>
                      <a:pt x="637503" y="95629"/>
                    </a:lnTo>
                    <a:lnTo>
                      <a:pt x="877901" y="95629"/>
                    </a:lnTo>
                    <a:lnTo>
                      <a:pt x="875172" y="93657"/>
                    </a:lnTo>
                    <a:lnTo>
                      <a:pt x="834685" y="69295"/>
                    </a:lnTo>
                    <a:lnTo>
                      <a:pt x="791628" y="48126"/>
                    </a:lnTo>
                    <a:lnTo>
                      <a:pt x="746332" y="30455"/>
                    </a:lnTo>
                    <a:lnTo>
                      <a:pt x="699620" y="16673"/>
                    </a:lnTo>
                    <a:lnTo>
                      <a:pt x="652694" y="7074"/>
                    </a:lnTo>
                    <a:lnTo>
                      <a:pt x="605767" y="1551"/>
                    </a:lnTo>
                    <a:lnTo>
                      <a:pt x="559054" y="0"/>
                    </a:lnTo>
                    <a:close/>
                  </a:path>
                  <a:path w="1128395" h="1124585">
                    <a:moveTo>
                      <a:pt x="877901" y="95629"/>
                    </a:moveTo>
                    <a:lnTo>
                      <a:pt x="637503" y="95629"/>
                    </a:lnTo>
                    <a:lnTo>
                      <a:pt x="682332" y="98733"/>
                    </a:lnTo>
                    <a:lnTo>
                      <a:pt x="726905" y="106207"/>
                    </a:lnTo>
                    <a:lnTo>
                      <a:pt x="770895" y="118106"/>
                    </a:lnTo>
                    <a:lnTo>
                      <a:pt x="813976" y="134488"/>
                    </a:lnTo>
                    <a:lnTo>
                      <a:pt x="855822" y="155408"/>
                    </a:lnTo>
                    <a:lnTo>
                      <a:pt x="896107" y="180922"/>
                    </a:lnTo>
                    <a:lnTo>
                      <a:pt x="933615" y="210365"/>
                    </a:lnTo>
                    <a:lnTo>
                      <a:pt x="967314" y="242816"/>
                    </a:lnTo>
                    <a:lnTo>
                      <a:pt x="997148" y="277947"/>
                    </a:lnTo>
                    <a:lnTo>
                      <a:pt x="1023062" y="315433"/>
                    </a:lnTo>
                    <a:lnTo>
                      <a:pt x="1044998" y="354946"/>
                    </a:lnTo>
                    <a:lnTo>
                      <a:pt x="1062901" y="396161"/>
                    </a:lnTo>
                    <a:lnTo>
                      <a:pt x="1076715" y="438752"/>
                    </a:lnTo>
                    <a:lnTo>
                      <a:pt x="1086383" y="482391"/>
                    </a:lnTo>
                    <a:lnTo>
                      <a:pt x="1091850" y="526754"/>
                    </a:lnTo>
                    <a:lnTo>
                      <a:pt x="1093059" y="571512"/>
                    </a:lnTo>
                    <a:lnTo>
                      <a:pt x="1089954" y="616341"/>
                    </a:lnTo>
                    <a:lnTo>
                      <a:pt x="1082479" y="660914"/>
                    </a:lnTo>
                    <a:lnTo>
                      <a:pt x="1070578" y="704904"/>
                    </a:lnTo>
                    <a:lnTo>
                      <a:pt x="1054195" y="747985"/>
                    </a:lnTo>
                    <a:lnTo>
                      <a:pt x="1033274" y="789832"/>
                    </a:lnTo>
                    <a:lnTo>
                      <a:pt x="1007758" y="830116"/>
                    </a:lnTo>
                    <a:lnTo>
                      <a:pt x="978148" y="867813"/>
                    </a:lnTo>
                    <a:lnTo>
                      <a:pt x="945692" y="901483"/>
                    </a:lnTo>
                    <a:lnTo>
                      <a:pt x="910559" y="931290"/>
                    </a:lnTo>
                    <a:lnTo>
                      <a:pt x="873076" y="957177"/>
                    </a:lnTo>
                    <a:lnTo>
                      <a:pt x="833568" y="979089"/>
                    </a:lnTo>
                    <a:lnTo>
                      <a:pt x="792362" y="996970"/>
                    </a:lnTo>
                    <a:lnTo>
                      <a:pt x="749782" y="1010764"/>
                    </a:lnTo>
                    <a:lnTo>
                      <a:pt x="706156" y="1020416"/>
                    </a:lnTo>
                    <a:lnTo>
                      <a:pt x="661809" y="1025868"/>
                    </a:lnTo>
                    <a:lnTo>
                      <a:pt x="617067" y="1027066"/>
                    </a:lnTo>
                    <a:lnTo>
                      <a:pt x="862350" y="1027066"/>
                    </a:lnTo>
                    <a:lnTo>
                      <a:pt x="896009" y="1002037"/>
                    </a:lnTo>
                    <a:lnTo>
                      <a:pt x="934140" y="969283"/>
                    </a:lnTo>
                    <a:lnTo>
                      <a:pt x="969919" y="933888"/>
                    </a:lnTo>
                    <a:lnTo>
                      <a:pt x="1003198" y="895969"/>
                    </a:lnTo>
                    <a:lnTo>
                      <a:pt x="1033831" y="855644"/>
                    </a:lnTo>
                    <a:lnTo>
                      <a:pt x="1068055" y="802465"/>
                    </a:lnTo>
                    <a:lnTo>
                      <a:pt x="1097504" y="746506"/>
                    </a:lnTo>
                    <a:lnTo>
                      <a:pt x="1111287" y="699794"/>
                    </a:lnTo>
                    <a:lnTo>
                      <a:pt x="1120888" y="652866"/>
                    </a:lnTo>
                    <a:lnTo>
                      <a:pt x="1126412" y="605938"/>
                    </a:lnTo>
                    <a:lnTo>
                      <a:pt x="1127964" y="559225"/>
                    </a:lnTo>
                    <a:lnTo>
                      <a:pt x="1125650" y="512942"/>
                    </a:lnTo>
                    <a:lnTo>
                      <a:pt x="1119574" y="467303"/>
                    </a:lnTo>
                    <a:lnTo>
                      <a:pt x="1109844" y="422525"/>
                    </a:lnTo>
                    <a:lnTo>
                      <a:pt x="1096563" y="378820"/>
                    </a:lnTo>
                    <a:lnTo>
                      <a:pt x="1079769" y="336264"/>
                    </a:lnTo>
                    <a:lnTo>
                      <a:pt x="1059774" y="295495"/>
                    </a:lnTo>
                    <a:lnTo>
                      <a:pt x="1036476" y="256303"/>
                    </a:lnTo>
                    <a:lnTo>
                      <a:pt x="1010050" y="219046"/>
                    </a:lnTo>
                    <a:lnTo>
                      <a:pt x="980601" y="183938"/>
                    </a:lnTo>
                    <a:lnTo>
                      <a:pt x="948235" y="151194"/>
                    </a:lnTo>
                    <a:lnTo>
                      <a:pt x="913056" y="121029"/>
                    </a:lnTo>
                    <a:lnTo>
                      <a:pt x="877901" y="95629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9" name="object 29">
                <a:extLst>
                  <a:ext uri="{FF2B5EF4-FFF2-40B4-BE49-F238E27FC236}">
                    <a16:creationId xmlns:a16="http://schemas.microsoft.com/office/drawing/2014/main" xmlns="" id="{51EE2A3A-3A76-3B4F-01A3-DA309B0617C9}"/>
                  </a:ext>
                </a:extLst>
              </p:cNvPr>
              <p:cNvSpPr/>
              <p:nvPr/>
            </p:nvSpPr>
            <p:spPr>
              <a:xfrm>
                <a:off x="5935642" y="2141146"/>
                <a:ext cx="767080" cy="762000"/>
              </a:xfrm>
              <a:custGeom>
                <a:avLst/>
                <a:gdLst/>
                <a:ahLst/>
                <a:cxnLst/>
                <a:rect l="l" t="t" r="r" b="b"/>
                <a:pathLst>
                  <a:path w="767079" h="762000">
                    <a:moveTo>
                      <a:pt x="383253" y="0"/>
                    </a:moveTo>
                    <a:lnTo>
                      <a:pt x="338054" y="2015"/>
                    </a:lnTo>
                    <a:lnTo>
                      <a:pt x="293541" y="9287"/>
                    </a:lnTo>
                    <a:lnTo>
                      <a:pt x="250212" y="21732"/>
                    </a:lnTo>
                    <a:lnTo>
                      <a:pt x="208568" y="39269"/>
                    </a:lnTo>
                    <a:lnTo>
                      <a:pt x="169106" y="61814"/>
                    </a:lnTo>
                    <a:lnTo>
                      <a:pt x="132328" y="89286"/>
                    </a:lnTo>
                    <a:lnTo>
                      <a:pt x="98731" y="121603"/>
                    </a:lnTo>
                    <a:lnTo>
                      <a:pt x="68815" y="158682"/>
                    </a:lnTo>
                    <a:lnTo>
                      <a:pt x="43793" y="199223"/>
                    </a:lnTo>
                    <a:lnTo>
                      <a:pt x="24486" y="241649"/>
                    </a:lnTo>
                    <a:lnTo>
                      <a:pt x="10810" y="285462"/>
                    </a:lnTo>
                    <a:lnTo>
                      <a:pt x="2676" y="330163"/>
                    </a:lnTo>
                    <a:lnTo>
                      <a:pt x="0" y="375256"/>
                    </a:lnTo>
                    <a:lnTo>
                      <a:pt x="2693" y="420242"/>
                    </a:lnTo>
                    <a:lnTo>
                      <a:pt x="10672" y="464623"/>
                    </a:lnTo>
                    <a:lnTo>
                      <a:pt x="23848" y="507902"/>
                    </a:lnTo>
                    <a:lnTo>
                      <a:pt x="42136" y="549579"/>
                    </a:lnTo>
                    <a:lnTo>
                      <a:pt x="65449" y="589157"/>
                    </a:lnTo>
                    <a:lnTo>
                      <a:pt x="93701" y="626139"/>
                    </a:lnTo>
                    <a:lnTo>
                      <a:pt x="126805" y="660026"/>
                    </a:lnTo>
                    <a:lnTo>
                      <a:pt x="164676" y="690320"/>
                    </a:lnTo>
                    <a:lnTo>
                      <a:pt x="205815" y="715795"/>
                    </a:lnTo>
                    <a:lnTo>
                      <a:pt x="248765" y="735610"/>
                    </a:lnTo>
                    <a:lnTo>
                      <a:pt x="293025" y="749847"/>
                    </a:lnTo>
                    <a:lnTo>
                      <a:pt x="338098" y="758588"/>
                    </a:lnTo>
                    <a:lnTo>
                      <a:pt x="383483" y="761914"/>
                    </a:lnTo>
                    <a:lnTo>
                      <a:pt x="428681" y="759907"/>
                    </a:lnTo>
                    <a:lnTo>
                      <a:pt x="472220" y="752808"/>
                    </a:lnTo>
                    <a:lnTo>
                      <a:pt x="378806" y="752808"/>
                    </a:lnTo>
                    <a:lnTo>
                      <a:pt x="328291" y="752173"/>
                    </a:lnTo>
                    <a:lnTo>
                      <a:pt x="278626" y="742921"/>
                    </a:lnTo>
                    <a:lnTo>
                      <a:pt x="230958" y="725167"/>
                    </a:lnTo>
                    <a:lnTo>
                      <a:pt x="186434" y="699021"/>
                    </a:lnTo>
                    <a:lnTo>
                      <a:pt x="178644" y="692844"/>
                    </a:lnTo>
                    <a:lnTo>
                      <a:pt x="171314" y="686886"/>
                    </a:lnTo>
                    <a:lnTo>
                      <a:pt x="125496" y="652450"/>
                    </a:lnTo>
                    <a:lnTo>
                      <a:pt x="93750" y="619182"/>
                    </a:lnTo>
                    <a:lnTo>
                      <a:pt x="67132" y="582621"/>
                    </a:lnTo>
                    <a:lnTo>
                      <a:pt x="45748" y="543339"/>
                    </a:lnTo>
                    <a:lnTo>
                      <a:pt x="29699" y="501911"/>
                    </a:lnTo>
                    <a:lnTo>
                      <a:pt x="19090" y="458911"/>
                    </a:lnTo>
                    <a:lnTo>
                      <a:pt x="14023" y="414912"/>
                    </a:lnTo>
                    <a:lnTo>
                      <a:pt x="14603" y="370488"/>
                    </a:lnTo>
                    <a:lnTo>
                      <a:pt x="20933" y="326213"/>
                    </a:lnTo>
                    <a:lnTo>
                      <a:pt x="33115" y="282661"/>
                    </a:lnTo>
                    <a:lnTo>
                      <a:pt x="51254" y="240405"/>
                    </a:lnTo>
                    <a:lnTo>
                      <a:pt x="75453" y="200021"/>
                    </a:lnTo>
                    <a:lnTo>
                      <a:pt x="104930" y="163819"/>
                    </a:lnTo>
                    <a:lnTo>
                      <a:pt x="138288" y="132692"/>
                    </a:lnTo>
                    <a:lnTo>
                      <a:pt x="174950" y="106734"/>
                    </a:lnTo>
                    <a:lnTo>
                      <a:pt x="214340" y="86037"/>
                    </a:lnTo>
                    <a:lnTo>
                      <a:pt x="255882" y="70696"/>
                    </a:lnTo>
                    <a:lnTo>
                      <a:pt x="299000" y="60804"/>
                    </a:lnTo>
                    <a:lnTo>
                      <a:pt x="343118" y="56454"/>
                    </a:lnTo>
                    <a:lnTo>
                      <a:pt x="577559" y="56454"/>
                    </a:lnTo>
                    <a:lnTo>
                      <a:pt x="560918" y="46140"/>
                    </a:lnTo>
                    <a:lnTo>
                      <a:pt x="517969" y="26310"/>
                    </a:lnTo>
                    <a:lnTo>
                      <a:pt x="473710" y="12064"/>
                    </a:lnTo>
                    <a:lnTo>
                      <a:pt x="428638" y="3322"/>
                    </a:lnTo>
                    <a:lnTo>
                      <a:pt x="383253" y="0"/>
                    </a:lnTo>
                    <a:close/>
                  </a:path>
                  <a:path w="767079" h="762000">
                    <a:moveTo>
                      <a:pt x="577559" y="56454"/>
                    </a:moveTo>
                    <a:lnTo>
                      <a:pt x="343118" y="56454"/>
                    </a:lnTo>
                    <a:lnTo>
                      <a:pt x="387659" y="57740"/>
                    </a:lnTo>
                    <a:lnTo>
                      <a:pt x="432048" y="64755"/>
                    </a:lnTo>
                    <a:lnTo>
                      <a:pt x="475709" y="77594"/>
                    </a:lnTo>
                    <a:lnTo>
                      <a:pt x="518064" y="96348"/>
                    </a:lnTo>
                    <a:lnTo>
                      <a:pt x="558538" y="121112"/>
                    </a:lnTo>
                    <a:lnTo>
                      <a:pt x="558308" y="121112"/>
                    </a:lnTo>
                    <a:lnTo>
                      <a:pt x="595165" y="151024"/>
                    </a:lnTo>
                    <a:lnTo>
                      <a:pt x="626983" y="184713"/>
                    </a:lnTo>
                    <a:lnTo>
                      <a:pt x="653660" y="221605"/>
                    </a:lnTo>
                    <a:lnTo>
                      <a:pt x="675090" y="261125"/>
                    </a:lnTo>
                    <a:lnTo>
                      <a:pt x="691171" y="302698"/>
                    </a:lnTo>
                    <a:lnTo>
                      <a:pt x="701798" y="345749"/>
                    </a:lnTo>
                    <a:lnTo>
                      <a:pt x="706869" y="389705"/>
                    </a:lnTo>
                    <a:lnTo>
                      <a:pt x="706278" y="433990"/>
                    </a:lnTo>
                    <a:lnTo>
                      <a:pt x="699924" y="478030"/>
                    </a:lnTo>
                    <a:lnTo>
                      <a:pt x="687701" y="521249"/>
                    </a:lnTo>
                    <a:lnTo>
                      <a:pt x="669507" y="563074"/>
                    </a:lnTo>
                    <a:lnTo>
                      <a:pt x="645237" y="602930"/>
                    </a:lnTo>
                    <a:lnTo>
                      <a:pt x="611173" y="643783"/>
                    </a:lnTo>
                    <a:lnTo>
                      <a:pt x="571389" y="678597"/>
                    </a:lnTo>
                    <a:lnTo>
                      <a:pt x="526668" y="706788"/>
                    </a:lnTo>
                    <a:lnTo>
                      <a:pt x="477797" y="727774"/>
                    </a:lnTo>
                    <a:lnTo>
                      <a:pt x="429024" y="744712"/>
                    </a:lnTo>
                    <a:lnTo>
                      <a:pt x="378806" y="752808"/>
                    </a:lnTo>
                    <a:lnTo>
                      <a:pt x="472220" y="752808"/>
                    </a:lnTo>
                    <a:lnTo>
                      <a:pt x="516522" y="740221"/>
                    </a:lnTo>
                    <a:lnTo>
                      <a:pt x="558165" y="722704"/>
                    </a:lnTo>
                    <a:lnTo>
                      <a:pt x="597626" y="700182"/>
                    </a:lnTo>
                    <a:lnTo>
                      <a:pt x="634404" y="672734"/>
                    </a:lnTo>
                    <a:lnTo>
                      <a:pt x="668000" y="640443"/>
                    </a:lnTo>
                    <a:lnTo>
                      <a:pt x="697916" y="603391"/>
                    </a:lnTo>
                    <a:lnTo>
                      <a:pt x="722927" y="562872"/>
                    </a:lnTo>
                    <a:lnTo>
                      <a:pt x="742204" y="520461"/>
                    </a:lnTo>
                    <a:lnTo>
                      <a:pt x="755838" y="476657"/>
                    </a:lnTo>
                    <a:lnTo>
                      <a:pt x="763921" y="431957"/>
                    </a:lnTo>
                    <a:lnTo>
                      <a:pt x="766546" y="386860"/>
                    </a:lnTo>
                    <a:lnTo>
                      <a:pt x="763803" y="341865"/>
                    </a:lnTo>
                    <a:lnTo>
                      <a:pt x="755786" y="297471"/>
                    </a:lnTo>
                    <a:lnTo>
                      <a:pt x="742586" y="254176"/>
                    </a:lnTo>
                    <a:lnTo>
                      <a:pt x="724294" y="212478"/>
                    </a:lnTo>
                    <a:lnTo>
                      <a:pt x="701004" y="172877"/>
                    </a:lnTo>
                    <a:lnTo>
                      <a:pt x="672805" y="135871"/>
                    </a:lnTo>
                    <a:lnTo>
                      <a:pt x="639792" y="101958"/>
                    </a:lnTo>
                    <a:lnTo>
                      <a:pt x="602055" y="71637"/>
                    </a:lnTo>
                    <a:lnTo>
                      <a:pt x="577559" y="5645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3" name="object 12">
              <a:extLst>
                <a:ext uri="{FF2B5EF4-FFF2-40B4-BE49-F238E27FC236}">
                  <a16:creationId xmlns:a16="http://schemas.microsoft.com/office/drawing/2014/main" xmlns="" id="{7BB212CA-816D-763B-2087-55820FC082C1}"/>
                </a:ext>
              </a:extLst>
            </p:cNvPr>
            <p:cNvGrpSpPr/>
            <p:nvPr/>
          </p:nvGrpSpPr>
          <p:grpSpPr>
            <a:xfrm>
              <a:off x="15528259" y="425515"/>
              <a:ext cx="4003675" cy="5353050"/>
              <a:chOff x="15131167" y="948417"/>
              <a:chExt cx="4003675" cy="5353050"/>
            </a:xfrm>
          </p:grpSpPr>
          <p:sp>
            <p:nvSpPr>
              <p:cNvPr id="14" name="object 13">
                <a:extLst>
                  <a:ext uri="{FF2B5EF4-FFF2-40B4-BE49-F238E27FC236}">
                    <a16:creationId xmlns:a16="http://schemas.microsoft.com/office/drawing/2014/main" xmlns="" id="{742BEE2A-A263-642B-5A93-0D9FF20C1F7A}"/>
                  </a:ext>
                </a:extLst>
              </p:cNvPr>
              <p:cNvSpPr/>
              <p:nvPr/>
            </p:nvSpPr>
            <p:spPr>
              <a:xfrm>
                <a:off x="15222510" y="4861129"/>
                <a:ext cx="3820795" cy="1348740"/>
              </a:xfrm>
              <a:custGeom>
                <a:avLst/>
                <a:gdLst/>
                <a:ahLst/>
                <a:cxnLst/>
                <a:rect l="l" t="t" r="r" b="b"/>
                <a:pathLst>
                  <a:path w="3820794" h="1348739">
                    <a:moveTo>
                      <a:pt x="0" y="1348660"/>
                    </a:moveTo>
                    <a:lnTo>
                      <a:pt x="3820710" y="1348660"/>
                    </a:lnTo>
                    <a:lnTo>
                      <a:pt x="3820710" y="0"/>
                    </a:lnTo>
                    <a:lnTo>
                      <a:pt x="0" y="0"/>
                    </a:lnTo>
                    <a:lnTo>
                      <a:pt x="0" y="1348660"/>
                    </a:lnTo>
                    <a:close/>
                  </a:path>
                </a:pathLst>
              </a:custGeom>
              <a:ln w="182685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5" name="object 14">
                <a:extLst>
                  <a:ext uri="{FF2B5EF4-FFF2-40B4-BE49-F238E27FC236}">
                    <a16:creationId xmlns:a16="http://schemas.microsoft.com/office/drawing/2014/main" xmlns="" id="{106DCE32-8413-930C-7C03-83CA80E62E46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7516148" y="1468723"/>
                <a:ext cx="193941" cy="241950"/>
              </a:xfrm>
              <a:prstGeom prst="rect">
                <a:avLst/>
              </a:prstGeom>
            </p:spPr>
          </p:pic>
          <p:sp>
            <p:nvSpPr>
              <p:cNvPr id="16" name="object 15">
                <a:extLst>
                  <a:ext uri="{FF2B5EF4-FFF2-40B4-BE49-F238E27FC236}">
                    <a16:creationId xmlns:a16="http://schemas.microsoft.com/office/drawing/2014/main" xmlns="" id="{F1FF8853-E26E-7679-D6FF-CFAD6BBB8736}"/>
                  </a:ext>
                </a:extLst>
              </p:cNvPr>
              <p:cNvSpPr/>
              <p:nvPr/>
            </p:nvSpPr>
            <p:spPr>
              <a:xfrm>
                <a:off x="17740986" y="1373599"/>
                <a:ext cx="46990" cy="336550"/>
              </a:xfrm>
              <a:custGeom>
                <a:avLst/>
                <a:gdLst/>
                <a:ahLst/>
                <a:cxnLst/>
                <a:rect l="l" t="t" r="r" b="b"/>
                <a:pathLst>
                  <a:path w="46990" h="336550">
                    <a:moveTo>
                      <a:pt x="46786" y="95097"/>
                    </a:moveTo>
                    <a:lnTo>
                      <a:pt x="0" y="95097"/>
                    </a:lnTo>
                    <a:lnTo>
                      <a:pt x="0" y="336473"/>
                    </a:lnTo>
                    <a:lnTo>
                      <a:pt x="46786" y="336473"/>
                    </a:lnTo>
                    <a:lnTo>
                      <a:pt x="46786" y="95097"/>
                    </a:lnTo>
                    <a:close/>
                  </a:path>
                  <a:path w="46990" h="336550">
                    <a:moveTo>
                      <a:pt x="46786" y="0"/>
                    </a:moveTo>
                    <a:lnTo>
                      <a:pt x="0" y="0"/>
                    </a:lnTo>
                    <a:lnTo>
                      <a:pt x="0" y="46799"/>
                    </a:lnTo>
                    <a:lnTo>
                      <a:pt x="46786" y="46799"/>
                    </a:lnTo>
                    <a:lnTo>
                      <a:pt x="46786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7" name="object 16">
                <a:extLst>
                  <a:ext uri="{FF2B5EF4-FFF2-40B4-BE49-F238E27FC236}">
                    <a16:creationId xmlns:a16="http://schemas.microsoft.com/office/drawing/2014/main" xmlns="" id="{1E23A749-CFB4-55B4-7938-2A0868EC4798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7824631" y="1468689"/>
                <a:ext cx="224118" cy="241385"/>
              </a:xfrm>
              <a:prstGeom prst="rect">
                <a:avLst/>
              </a:prstGeom>
            </p:spPr>
          </p:pic>
          <p:sp>
            <p:nvSpPr>
              <p:cNvPr id="18" name="object 17">
                <a:extLst>
                  <a:ext uri="{FF2B5EF4-FFF2-40B4-BE49-F238E27FC236}">
                    <a16:creationId xmlns:a16="http://schemas.microsoft.com/office/drawing/2014/main" xmlns="" id="{0012F36E-CB63-068D-DA35-8BCED93726AD}"/>
                  </a:ext>
                </a:extLst>
              </p:cNvPr>
              <p:cNvSpPr/>
              <p:nvPr/>
            </p:nvSpPr>
            <p:spPr>
              <a:xfrm>
                <a:off x="18082274" y="1373501"/>
                <a:ext cx="224154" cy="337185"/>
              </a:xfrm>
              <a:custGeom>
                <a:avLst/>
                <a:gdLst/>
                <a:ahLst/>
                <a:cxnLst/>
                <a:rect l="l" t="t" r="r" b="b"/>
                <a:pathLst>
                  <a:path w="224155" h="337185">
                    <a:moveTo>
                      <a:pt x="224118" y="0"/>
                    </a:moveTo>
                    <a:lnTo>
                      <a:pt x="177010" y="0"/>
                    </a:lnTo>
                    <a:lnTo>
                      <a:pt x="177010" y="95180"/>
                    </a:lnTo>
                    <a:lnTo>
                      <a:pt x="112300" y="95180"/>
                    </a:lnTo>
                    <a:lnTo>
                      <a:pt x="63168" y="102742"/>
                    </a:lnTo>
                    <a:lnTo>
                      <a:pt x="28075" y="125383"/>
                    </a:lnTo>
                    <a:lnTo>
                      <a:pt x="7018" y="163102"/>
                    </a:lnTo>
                    <a:lnTo>
                      <a:pt x="0" y="215899"/>
                    </a:lnTo>
                    <a:lnTo>
                      <a:pt x="7195" y="268916"/>
                    </a:lnTo>
                    <a:lnTo>
                      <a:pt x="28310" y="306777"/>
                    </a:lnTo>
                    <a:lnTo>
                      <a:pt x="63345" y="329483"/>
                    </a:lnTo>
                    <a:lnTo>
                      <a:pt x="112300" y="337036"/>
                    </a:lnTo>
                    <a:lnTo>
                      <a:pt x="161219" y="329452"/>
                    </a:lnTo>
                    <a:lnTo>
                      <a:pt x="196162" y="306734"/>
                    </a:lnTo>
                    <a:lnTo>
                      <a:pt x="205373" y="290106"/>
                    </a:lnTo>
                    <a:lnTo>
                      <a:pt x="112300" y="290106"/>
                    </a:lnTo>
                    <a:lnTo>
                      <a:pt x="94909" y="288834"/>
                    </a:lnTo>
                    <a:lnTo>
                      <a:pt x="59746" y="269468"/>
                    </a:lnTo>
                    <a:lnTo>
                      <a:pt x="47537" y="215899"/>
                    </a:lnTo>
                    <a:lnTo>
                      <a:pt x="48299" y="198634"/>
                    </a:lnTo>
                    <a:lnTo>
                      <a:pt x="59746" y="162246"/>
                    </a:lnTo>
                    <a:lnTo>
                      <a:pt x="94919" y="143336"/>
                    </a:lnTo>
                    <a:lnTo>
                      <a:pt x="112300" y="142068"/>
                    </a:lnTo>
                    <a:lnTo>
                      <a:pt x="224118" y="142068"/>
                    </a:lnTo>
                    <a:lnTo>
                      <a:pt x="224118" y="0"/>
                    </a:lnTo>
                    <a:close/>
                  </a:path>
                  <a:path w="224155" h="337185">
                    <a:moveTo>
                      <a:pt x="224118" y="142068"/>
                    </a:moveTo>
                    <a:lnTo>
                      <a:pt x="177010" y="142068"/>
                    </a:lnTo>
                    <a:lnTo>
                      <a:pt x="177010" y="215899"/>
                    </a:lnTo>
                    <a:lnTo>
                      <a:pt x="176264" y="233160"/>
                    </a:lnTo>
                    <a:lnTo>
                      <a:pt x="155935" y="278479"/>
                    </a:lnTo>
                    <a:lnTo>
                      <a:pt x="112300" y="290106"/>
                    </a:lnTo>
                    <a:lnTo>
                      <a:pt x="205373" y="290106"/>
                    </a:lnTo>
                    <a:lnTo>
                      <a:pt x="217129" y="268882"/>
                    </a:lnTo>
                    <a:lnTo>
                      <a:pt x="224118" y="215899"/>
                    </a:lnTo>
                    <a:lnTo>
                      <a:pt x="224118" y="142068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" name="object 18">
                <a:extLst>
                  <a:ext uri="{FF2B5EF4-FFF2-40B4-BE49-F238E27FC236}">
                    <a16:creationId xmlns:a16="http://schemas.microsoft.com/office/drawing/2014/main" xmlns="" id="{35A4352A-CF85-B341-36EB-E1F39AC0EBDD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8341749" y="1468684"/>
                <a:ext cx="460443" cy="241386"/>
              </a:xfrm>
              <a:prstGeom prst="rect">
                <a:avLst/>
              </a:prstGeom>
            </p:spPr>
          </p:pic>
          <p:pic>
            <p:nvPicPr>
              <p:cNvPr id="20" name="object 19">
                <a:extLst>
                  <a:ext uri="{FF2B5EF4-FFF2-40B4-BE49-F238E27FC236}">
                    <a16:creationId xmlns:a16="http://schemas.microsoft.com/office/drawing/2014/main" xmlns="" id="{16223CF8-85F6-3FCD-8266-8D3BE94A2F1E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8837037" y="1468689"/>
                <a:ext cx="224160" cy="241385"/>
              </a:xfrm>
              <a:prstGeom prst="rect">
                <a:avLst/>
              </a:prstGeom>
            </p:spPr>
          </p:pic>
          <p:pic>
            <p:nvPicPr>
              <p:cNvPr id="21" name="object 20">
                <a:extLst>
                  <a:ext uri="{FF2B5EF4-FFF2-40B4-BE49-F238E27FC236}">
                    <a16:creationId xmlns:a16="http://schemas.microsoft.com/office/drawing/2014/main" xmlns="" id="{278AD776-9F09-5866-FBB3-16B69FAECE0F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8500083" y="1044583"/>
                <a:ext cx="226370" cy="243814"/>
              </a:xfrm>
              <a:prstGeom prst="rect">
                <a:avLst/>
              </a:prstGeom>
            </p:spPr>
          </p:pic>
          <p:pic>
            <p:nvPicPr>
              <p:cNvPr id="22" name="object 21">
                <a:extLst>
                  <a:ext uri="{FF2B5EF4-FFF2-40B4-BE49-F238E27FC236}">
                    <a16:creationId xmlns:a16="http://schemas.microsoft.com/office/drawing/2014/main" xmlns="" id="{7CFAA3D5-0BD9-8AEA-48B3-6879BBA908BE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7516270" y="1044411"/>
                <a:ext cx="196203" cy="243982"/>
              </a:xfrm>
              <a:prstGeom prst="rect">
                <a:avLst/>
              </a:prstGeom>
            </p:spPr>
          </p:pic>
          <p:sp>
            <p:nvSpPr>
              <p:cNvPr id="23" name="object 22">
                <a:extLst>
                  <a:ext uri="{FF2B5EF4-FFF2-40B4-BE49-F238E27FC236}">
                    <a16:creationId xmlns:a16="http://schemas.microsoft.com/office/drawing/2014/main" xmlns="" id="{DFF70D8C-46BA-995B-F4FD-09A26A728D70}"/>
                  </a:ext>
                </a:extLst>
              </p:cNvPr>
              <p:cNvSpPr/>
              <p:nvPr/>
            </p:nvSpPr>
            <p:spPr>
              <a:xfrm>
                <a:off x="17749108" y="948417"/>
                <a:ext cx="226695" cy="340360"/>
              </a:xfrm>
              <a:custGeom>
                <a:avLst/>
                <a:gdLst/>
                <a:ahLst/>
                <a:cxnLst/>
                <a:rect l="l" t="t" r="r" b="b"/>
                <a:pathLst>
                  <a:path w="226694" h="340359">
                    <a:moveTo>
                      <a:pt x="47569" y="0"/>
                    </a:moveTo>
                    <a:lnTo>
                      <a:pt x="0" y="0"/>
                    </a:lnTo>
                    <a:lnTo>
                      <a:pt x="27" y="218286"/>
                    </a:lnTo>
                    <a:lnTo>
                      <a:pt x="6901" y="271407"/>
                    </a:lnTo>
                    <a:lnTo>
                      <a:pt x="28029" y="309502"/>
                    </a:lnTo>
                    <a:lnTo>
                      <a:pt x="63385" y="332359"/>
                    </a:lnTo>
                    <a:lnTo>
                      <a:pt x="112970" y="339979"/>
                    </a:lnTo>
                    <a:lnTo>
                      <a:pt x="162603" y="332359"/>
                    </a:lnTo>
                    <a:lnTo>
                      <a:pt x="198020" y="309556"/>
                    </a:lnTo>
                    <a:lnTo>
                      <a:pt x="207413" y="292755"/>
                    </a:lnTo>
                    <a:lnTo>
                      <a:pt x="112970" y="292755"/>
                    </a:lnTo>
                    <a:lnTo>
                      <a:pt x="95406" y="291446"/>
                    </a:lnTo>
                    <a:lnTo>
                      <a:pt x="59914" y="271813"/>
                    </a:lnTo>
                    <a:lnTo>
                      <a:pt x="48340" y="235484"/>
                    </a:lnTo>
                    <a:lnTo>
                      <a:pt x="47569" y="218286"/>
                    </a:lnTo>
                    <a:lnTo>
                      <a:pt x="47569" y="143524"/>
                    </a:lnTo>
                    <a:lnTo>
                      <a:pt x="207416" y="143524"/>
                    </a:lnTo>
                    <a:lnTo>
                      <a:pt x="198043" y="126696"/>
                    </a:lnTo>
                    <a:lnTo>
                      <a:pt x="162600" y="103797"/>
                    </a:lnTo>
                    <a:lnTo>
                      <a:pt x="112970" y="96164"/>
                    </a:lnTo>
                    <a:lnTo>
                      <a:pt x="47569" y="96164"/>
                    </a:lnTo>
                    <a:lnTo>
                      <a:pt x="47569" y="0"/>
                    </a:lnTo>
                    <a:close/>
                  </a:path>
                  <a:path w="226694" h="340359">
                    <a:moveTo>
                      <a:pt x="207416" y="143524"/>
                    </a:moveTo>
                    <a:lnTo>
                      <a:pt x="112970" y="143524"/>
                    </a:lnTo>
                    <a:lnTo>
                      <a:pt x="130531" y="144839"/>
                    </a:lnTo>
                    <a:lnTo>
                      <a:pt x="145300" y="148738"/>
                    </a:lnTo>
                    <a:lnTo>
                      <a:pt x="175714" y="186104"/>
                    </a:lnTo>
                    <a:lnTo>
                      <a:pt x="178800" y="218286"/>
                    </a:lnTo>
                    <a:lnTo>
                      <a:pt x="177913" y="235496"/>
                    </a:lnTo>
                    <a:lnTo>
                      <a:pt x="166330" y="271813"/>
                    </a:lnTo>
                    <a:lnTo>
                      <a:pt x="130553" y="291446"/>
                    </a:lnTo>
                    <a:lnTo>
                      <a:pt x="112970" y="292755"/>
                    </a:lnTo>
                    <a:lnTo>
                      <a:pt x="207413" y="292755"/>
                    </a:lnTo>
                    <a:lnTo>
                      <a:pt x="219282" y="271527"/>
                    </a:lnTo>
                    <a:lnTo>
                      <a:pt x="226370" y="218286"/>
                    </a:lnTo>
                    <a:lnTo>
                      <a:pt x="219300" y="164859"/>
                    </a:lnTo>
                    <a:lnTo>
                      <a:pt x="207416" y="14352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4" name="object 23">
                <a:extLst>
                  <a:ext uri="{FF2B5EF4-FFF2-40B4-BE49-F238E27FC236}">
                    <a16:creationId xmlns:a16="http://schemas.microsoft.com/office/drawing/2014/main" xmlns="" id="{F07838CA-71E1-DDBF-66CF-C8EDEBBAFD31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7999732" y="1044581"/>
                <a:ext cx="465118" cy="243820"/>
              </a:xfrm>
              <a:prstGeom prst="rect">
                <a:avLst/>
              </a:prstGeom>
            </p:spPr>
          </p:pic>
          <p:pic>
            <p:nvPicPr>
              <p:cNvPr id="25" name="object 24">
                <a:extLst>
                  <a:ext uri="{FF2B5EF4-FFF2-40B4-BE49-F238E27FC236}">
                    <a16:creationId xmlns:a16="http://schemas.microsoft.com/office/drawing/2014/main" xmlns="" id="{13951F91-3601-D905-1C5B-4AC5F4BC8BDF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703765" y="1402267"/>
                <a:ext cx="246201" cy="201941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xmlns="" id="{6798ECAB-91A1-44AC-8C58-03CADB5833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5205" y="10517696"/>
            <a:ext cx="4623943" cy="276999"/>
          </a:xfrm>
          <a:prstGeom prst="rect">
            <a:avLst/>
          </a:prstGeom>
        </p:spPr>
        <p:txBody>
          <a:bodyPr/>
          <a:lstStyle/>
          <a:p>
            <a:fld id="{A19CA8C3-3C0E-4CE4-99E0-E10A42CA1DBC}" type="datetimeFigureOut">
              <a:rPr lang="pt-BR" smtClean="0"/>
              <a:t>19/09/2023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xmlns="" id="{22E45D1C-526A-418E-8A00-23FC2D0A4D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35394" y="10517696"/>
            <a:ext cx="6433312" cy="276999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xmlns="" id="{1B93AF0A-BF3E-411D-A156-7699396A6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474953" y="10517696"/>
            <a:ext cx="4623943" cy="276999"/>
          </a:xfrm>
          <a:prstGeom prst="rect">
            <a:avLst/>
          </a:prstGeom>
        </p:spPr>
        <p:txBody>
          <a:bodyPr/>
          <a:lstStyle/>
          <a:p>
            <a:fld id="{404789F3-D4A1-4868-AB97-68497646EBF0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04671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xmlns="" id="{4E7D4FBA-014C-42A8-86D7-135F4D179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058830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Slide do think-cell" r:id="rId4" imgW="488" imgH="484" progId="TCLayout.ActiveDocument.1">
                  <p:embed/>
                </p:oleObj>
              </mc:Choice>
              <mc:Fallback>
                <p:oleObj name="Slide do think-cell" r:id="rId4" imgW="488" imgH="484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xmlns="" id="{4E7D4FBA-014C-42A8-86D7-135F4D179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1835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049AA-7984-44B5-B664-0EA277CEFDA5}" type="datetimeFigureOut">
              <a:rPr lang="pt-BR" smtClean="0"/>
              <a:t>19/09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E2165-128C-4D4B-9F19-BD5C523D7DB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68982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9.png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3">
            <a:extLst>
              <a:ext uri="{FF2B5EF4-FFF2-40B4-BE49-F238E27FC236}">
                <a16:creationId xmlns:a16="http://schemas.microsoft.com/office/drawing/2014/main" xmlns="" id="{999D2FC6-7FBF-92A1-1743-21177A96CE9A}"/>
              </a:ext>
            </a:extLst>
          </p:cNvPr>
          <p:cNvGrpSpPr/>
          <p:nvPr userDrawn="1"/>
        </p:nvGrpSpPr>
        <p:grpSpPr>
          <a:xfrm>
            <a:off x="946044" y="10638419"/>
            <a:ext cx="15751072" cy="670136"/>
            <a:chOff x="946044" y="10638419"/>
            <a:chExt cx="15751072" cy="670136"/>
          </a:xfrm>
        </p:grpSpPr>
        <p:pic>
          <p:nvPicPr>
            <p:cNvPr id="8" name="object 4">
              <a:extLst>
                <a:ext uri="{FF2B5EF4-FFF2-40B4-BE49-F238E27FC236}">
                  <a16:creationId xmlns:a16="http://schemas.microsoft.com/office/drawing/2014/main" xmlns="" id="{1DFF16F8-19F1-6E24-2A20-9A93ABE09C02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2188760" y="10638419"/>
              <a:ext cx="14508356" cy="670136"/>
            </a:xfrm>
            <a:prstGeom prst="rect">
              <a:avLst/>
            </a:prstGeom>
          </p:spPr>
        </p:pic>
        <p:sp>
          <p:nvSpPr>
            <p:cNvPr id="9" name="object 5">
              <a:extLst>
                <a:ext uri="{FF2B5EF4-FFF2-40B4-BE49-F238E27FC236}">
                  <a16:creationId xmlns:a16="http://schemas.microsoft.com/office/drawing/2014/main" xmlns="" id="{B1DC4D0B-64CC-6962-8857-64402565BB90}"/>
                </a:ext>
              </a:extLst>
            </p:cNvPr>
            <p:cNvSpPr/>
            <p:nvPr/>
          </p:nvSpPr>
          <p:spPr>
            <a:xfrm>
              <a:off x="946044" y="10638419"/>
              <a:ext cx="3729990" cy="136525"/>
            </a:xfrm>
            <a:custGeom>
              <a:avLst/>
              <a:gdLst/>
              <a:ahLst/>
              <a:cxnLst/>
              <a:rect l="l" t="t" r="r" b="b"/>
              <a:pathLst>
                <a:path w="3729990" h="136525">
                  <a:moveTo>
                    <a:pt x="3729938" y="0"/>
                  </a:moveTo>
                  <a:lnTo>
                    <a:pt x="0" y="0"/>
                  </a:lnTo>
                  <a:lnTo>
                    <a:pt x="0" y="136121"/>
                  </a:lnTo>
                  <a:lnTo>
                    <a:pt x="3729938" y="136121"/>
                  </a:lnTo>
                  <a:lnTo>
                    <a:pt x="37299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0" name="object 6">
            <a:extLst>
              <a:ext uri="{FF2B5EF4-FFF2-40B4-BE49-F238E27FC236}">
                <a16:creationId xmlns:a16="http://schemas.microsoft.com/office/drawing/2014/main" xmlns="" id="{6A0354BB-3CC7-1493-3032-3301EF1126CC}"/>
              </a:ext>
            </a:extLst>
          </p:cNvPr>
          <p:cNvPicPr/>
          <p:nvPr userDrawn="1"/>
        </p:nvPicPr>
        <p:blipFill>
          <a:blip r:embed="rId8" cstate="print"/>
          <a:stretch>
            <a:fillRect/>
          </a:stretch>
        </p:blipFill>
        <p:spPr>
          <a:xfrm>
            <a:off x="0" y="-17495"/>
            <a:ext cx="16738807" cy="732961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xmlns="" id="{6633470F-B9A8-3828-2991-98616E2D0A96}"/>
              </a:ext>
            </a:extLst>
          </p:cNvPr>
          <p:cNvGrpSpPr/>
          <p:nvPr userDrawn="1"/>
        </p:nvGrpSpPr>
        <p:grpSpPr>
          <a:xfrm>
            <a:off x="16262723" y="193935"/>
            <a:ext cx="3379280" cy="4518212"/>
            <a:chOff x="15528259" y="425515"/>
            <a:chExt cx="4003675" cy="5353050"/>
          </a:xfrm>
        </p:grpSpPr>
        <p:grpSp>
          <p:nvGrpSpPr>
            <p:cNvPr id="12" name="object 25">
              <a:extLst>
                <a:ext uri="{FF2B5EF4-FFF2-40B4-BE49-F238E27FC236}">
                  <a16:creationId xmlns:a16="http://schemas.microsoft.com/office/drawing/2014/main" xmlns="" id="{A9E375DE-B756-0C40-B370-49AE5FA2365E}"/>
                </a:ext>
              </a:extLst>
            </p:cNvPr>
            <p:cNvGrpSpPr/>
            <p:nvPr/>
          </p:nvGrpSpPr>
          <p:grpSpPr>
            <a:xfrm>
              <a:off x="17022345" y="437057"/>
              <a:ext cx="758114" cy="783009"/>
              <a:chOff x="5516224" y="1909393"/>
              <a:chExt cx="1198880" cy="1238250"/>
            </a:xfrm>
          </p:grpSpPr>
          <p:sp>
            <p:nvSpPr>
              <p:cNvPr id="26" name="object 26">
                <a:extLst>
                  <a:ext uri="{FF2B5EF4-FFF2-40B4-BE49-F238E27FC236}">
                    <a16:creationId xmlns:a16="http://schemas.microsoft.com/office/drawing/2014/main" xmlns="" id="{79781FE4-6BC9-C351-EABB-7A159BDABFB3}"/>
                  </a:ext>
                </a:extLst>
              </p:cNvPr>
              <p:cNvSpPr/>
              <p:nvPr/>
            </p:nvSpPr>
            <p:spPr>
              <a:xfrm>
                <a:off x="5531218" y="2347384"/>
                <a:ext cx="1060450" cy="629920"/>
              </a:xfrm>
              <a:custGeom>
                <a:avLst/>
                <a:gdLst/>
                <a:ahLst/>
                <a:cxnLst/>
                <a:rect l="l" t="t" r="r" b="b"/>
                <a:pathLst>
                  <a:path w="1060450" h="629919">
                    <a:moveTo>
                      <a:pt x="400850" y="629767"/>
                    </a:moveTo>
                    <a:lnTo>
                      <a:pt x="355193" y="613117"/>
                    </a:lnTo>
                    <a:lnTo>
                      <a:pt x="310984" y="593521"/>
                    </a:lnTo>
                    <a:lnTo>
                      <a:pt x="268376" y="571068"/>
                    </a:lnTo>
                    <a:lnTo>
                      <a:pt x="227482" y="545884"/>
                    </a:lnTo>
                    <a:lnTo>
                      <a:pt x="188442" y="518045"/>
                    </a:lnTo>
                    <a:lnTo>
                      <a:pt x="151358" y="487680"/>
                    </a:lnTo>
                    <a:lnTo>
                      <a:pt x="116382" y="454875"/>
                    </a:lnTo>
                    <a:lnTo>
                      <a:pt x="83629" y="419747"/>
                    </a:lnTo>
                    <a:lnTo>
                      <a:pt x="53238" y="382384"/>
                    </a:lnTo>
                    <a:lnTo>
                      <a:pt x="25311" y="342900"/>
                    </a:lnTo>
                    <a:lnTo>
                      <a:pt x="0" y="301409"/>
                    </a:lnTo>
                    <a:lnTo>
                      <a:pt x="8026" y="321119"/>
                    </a:lnTo>
                    <a:lnTo>
                      <a:pt x="30365" y="363207"/>
                    </a:lnTo>
                    <a:lnTo>
                      <a:pt x="55968" y="402945"/>
                    </a:lnTo>
                    <a:lnTo>
                      <a:pt x="84620" y="440182"/>
                    </a:lnTo>
                    <a:lnTo>
                      <a:pt x="116141" y="474764"/>
                    </a:lnTo>
                    <a:lnTo>
                      <a:pt x="150342" y="506539"/>
                    </a:lnTo>
                    <a:lnTo>
                      <a:pt x="187020" y="535368"/>
                    </a:lnTo>
                    <a:lnTo>
                      <a:pt x="225983" y="561073"/>
                    </a:lnTo>
                    <a:lnTo>
                      <a:pt x="267042" y="583514"/>
                    </a:lnTo>
                    <a:lnTo>
                      <a:pt x="310007" y="602551"/>
                    </a:lnTo>
                    <a:lnTo>
                      <a:pt x="354672" y="618020"/>
                    </a:lnTo>
                    <a:lnTo>
                      <a:pt x="400850" y="629767"/>
                    </a:lnTo>
                    <a:close/>
                  </a:path>
                  <a:path w="1060450" h="629919">
                    <a:moveTo>
                      <a:pt x="1059942" y="290334"/>
                    </a:moveTo>
                    <a:lnTo>
                      <a:pt x="1055471" y="245808"/>
                    </a:lnTo>
                    <a:lnTo>
                      <a:pt x="1044270" y="202488"/>
                    </a:lnTo>
                    <a:lnTo>
                      <a:pt x="1026490" y="161201"/>
                    </a:lnTo>
                    <a:lnTo>
                      <a:pt x="1002296" y="122783"/>
                    </a:lnTo>
                    <a:lnTo>
                      <a:pt x="971829" y="88074"/>
                    </a:lnTo>
                    <a:lnTo>
                      <a:pt x="934440" y="57353"/>
                    </a:lnTo>
                    <a:lnTo>
                      <a:pt x="894638" y="32372"/>
                    </a:lnTo>
                    <a:lnTo>
                      <a:pt x="852487" y="14566"/>
                    </a:lnTo>
                    <a:lnTo>
                      <a:pt x="808824" y="3822"/>
                    </a:lnTo>
                    <a:lnTo>
                      <a:pt x="764451" y="0"/>
                    </a:lnTo>
                    <a:lnTo>
                      <a:pt x="720229" y="3009"/>
                    </a:lnTo>
                    <a:lnTo>
                      <a:pt x="676973" y="12712"/>
                    </a:lnTo>
                    <a:lnTo>
                      <a:pt x="635520" y="28981"/>
                    </a:lnTo>
                    <a:lnTo>
                      <a:pt x="596709" y="51714"/>
                    </a:lnTo>
                    <a:lnTo>
                      <a:pt x="561365" y="80784"/>
                    </a:lnTo>
                    <a:lnTo>
                      <a:pt x="530326" y="116052"/>
                    </a:lnTo>
                    <a:lnTo>
                      <a:pt x="505345" y="155854"/>
                    </a:lnTo>
                    <a:lnTo>
                      <a:pt x="487540" y="198005"/>
                    </a:lnTo>
                    <a:lnTo>
                      <a:pt x="476783" y="241668"/>
                    </a:lnTo>
                    <a:lnTo>
                      <a:pt x="472973" y="286042"/>
                    </a:lnTo>
                    <a:lnTo>
                      <a:pt x="475983" y="330263"/>
                    </a:lnTo>
                    <a:lnTo>
                      <a:pt x="485686" y="373519"/>
                    </a:lnTo>
                    <a:lnTo>
                      <a:pt x="501954" y="414959"/>
                    </a:lnTo>
                    <a:lnTo>
                      <a:pt x="524687" y="453771"/>
                    </a:lnTo>
                    <a:lnTo>
                      <a:pt x="553745" y="489115"/>
                    </a:lnTo>
                    <a:lnTo>
                      <a:pt x="589026" y="520153"/>
                    </a:lnTo>
                    <a:lnTo>
                      <a:pt x="635584" y="545744"/>
                    </a:lnTo>
                    <a:lnTo>
                      <a:pt x="684911" y="563816"/>
                    </a:lnTo>
                    <a:lnTo>
                      <a:pt x="736117" y="574243"/>
                    </a:lnTo>
                    <a:lnTo>
                      <a:pt x="788301" y="576948"/>
                    </a:lnTo>
                    <a:lnTo>
                      <a:pt x="840587" y="571779"/>
                    </a:lnTo>
                    <a:lnTo>
                      <a:pt x="892060" y="558647"/>
                    </a:lnTo>
                    <a:lnTo>
                      <a:pt x="956208" y="518922"/>
                    </a:lnTo>
                    <a:lnTo>
                      <a:pt x="1007618" y="463702"/>
                    </a:lnTo>
                    <a:lnTo>
                      <a:pt x="1031532" y="422732"/>
                    </a:lnTo>
                    <a:lnTo>
                      <a:pt x="1048118" y="379628"/>
                    </a:lnTo>
                    <a:lnTo>
                      <a:pt x="1057541" y="335216"/>
                    </a:lnTo>
                    <a:lnTo>
                      <a:pt x="1059942" y="290334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7" name="object 27">
                <a:extLst>
                  <a:ext uri="{FF2B5EF4-FFF2-40B4-BE49-F238E27FC236}">
                    <a16:creationId xmlns:a16="http://schemas.microsoft.com/office/drawing/2014/main" xmlns="" id="{EAFC4D2D-F131-8761-7619-65D4AEBE8161}"/>
                  </a:ext>
                </a:extLst>
              </p:cNvPr>
              <p:cNvSpPr/>
              <p:nvPr/>
            </p:nvSpPr>
            <p:spPr>
              <a:xfrm>
                <a:off x="5516224" y="2762522"/>
                <a:ext cx="979169" cy="385445"/>
              </a:xfrm>
              <a:custGeom>
                <a:avLst/>
                <a:gdLst/>
                <a:ahLst/>
                <a:cxnLst/>
                <a:rect l="l" t="t" r="r" b="b"/>
                <a:pathLst>
                  <a:path w="979170" h="385444">
                    <a:moveTo>
                      <a:pt x="0" y="0"/>
                    </a:moveTo>
                    <a:lnTo>
                      <a:pt x="20290" y="42896"/>
                    </a:lnTo>
                    <a:lnTo>
                      <a:pt x="43336" y="83581"/>
                    </a:lnTo>
                    <a:lnTo>
                      <a:pt x="68975" y="121990"/>
                    </a:lnTo>
                    <a:lnTo>
                      <a:pt x="97047" y="158058"/>
                    </a:lnTo>
                    <a:lnTo>
                      <a:pt x="127391" y="191722"/>
                    </a:lnTo>
                    <a:lnTo>
                      <a:pt x="159844" y="222916"/>
                    </a:lnTo>
                    <a:lnTo>
                      <a:pt x="194246" y="251577"/>
                    </a:lnTo>
                    <a:lnTo>
                      <a:pt x="230435" y="277639"/>
                    </a:lnTo>
                    <a:lnTo>
                      <a:pt x="268250" y="301038"/>
                    </a:lnTo>
                    <a:lnTo>
                      <a:pt x="307529" y="321710"/>
                    </a:lnTo>
                    <a:lnTo>
                      <a:pt x="348112" y="339590"/>
                    </a:lnTo>
                    <a:lnTo>
                      <a:pt x="389837" y="354614"/>
                    </a:lnTo>
                    <a:lnTo>
                      <a:pt x="432542" y="366717"/>
                    </a:lnTo>
                    <a:lnTo>
                      <a:pt x="476066" y="375835"/>
                    </a:lnTo>
                    <a:lnTo>
                      <a:pt x="520248" y="381903"/>
                    </a:lnTo>
                    <a:lnTo>
                      <a:pt x="564927" y="384857"/>
                    </a:lnTo>
                    <a:lnTo>
                      <a:pt x="609941" y="384632"/>
                    </a:lnTo>
                    <a:lnTo>
                      <a:pt x="655129" y="381164"/>
                    </a:lnTo>
                    <a:lnTo>
                      <a:pt x="700330" y="374388"/>
                    </a:lnTo>
                    <a:lnTo>
                      <a:pt x="745381" y="364240"/>
                    </a:lnTo>
                    <a:lnTo>
                      <a:pt x="790123" y="350656"/>
                    </a:lnTo>
                    <a:lnTo>
                      <a:pt x="834393" y="333570"/>
                    </a:lnTo>
                    <a:lnTo>
                      <a:pt x="872602" y="315661"/>
                    </a:lnTo>
                    <a:lnTo>
                      <a:pt x="909498" y="295278"/>
                    </a:lnTo>
                    <a:lnTo>
                      <a:pt x="944961" y="272493"/>
                    </a:lnTo>
                    <a:lnTo>
                      <a:pt x="978870" y="247374"/>
                    </a:lnTo>
                    <a:lnTo>
                      <a:pt x="933713" y="271527"/>
                    </a:lnTo>
                    <a:lnTo>
                      <a:pt x="887254" y="292284"/>
                    </a:lnTo>
                    <a:lnTo>
                      <a:pt x="839681" y="309625"/>
                    </a:lnTo>
                    <a:lnTo>
                      <a:pt x="791180" y="323530"/>
                    </a:lnTo>
                    <a:lnTo>
                      <a:pt x="741940" y="333981"/>
                    </a:lnTo>
                    <a:lnTo>
                      <a:pt x="692146" y="340958"/>
                    </a:lnTo>
                    <a:lnTo>
                      <a:pt x="641987" y="344440"/>
                    </a:lnTo>
                    <a:lnTo>
                      <a:pt x="591649" y="344410"/>
                    </a:lnTo>
                    <a:lnTo>
                      <a:pt x="541320" y="340846"/>
                    </a:lnTo>
                    <a:lnTo>
                      <a:pt x="491188" y="333731"/>
                    </a:lnTo>
                    <a:lnTo>
                      <a:pt x="441438" y="323044"/>
                    </a:lnTo>
                    <a:lnTo>
                      <a:pt x="392260" y="308765"/>
                    </a:lnTo>
                    <a:lnTo>
                      <a:pt x="346148" y="296935"/>
                    </a:lnTo>
                    <a:lnTo>
                      <a:pt x="301551" y="281403"/>
                    </a:lnTo>
                    <a:lnTo>
                      <a:pt x="258660" y="262321"/>
                    </a:lnTo>
                    <a:lnTo>
                      <a:pt x="217668" y="239840"/>
                    </a:lnTo>
                    <a:lnTo>
                      <a:pt x="178765" y="214111"/>
                    </a:lnTo>
                    <a:lnTo>
                      <a:pt x="142146" y="185285"/>
                    </a:lnTo>
                    <a:lnTo>
                      <a:pt x="108000" y="153514"/>
                    </a:lnTo>
                    <a:lnTo>
                      <a:pt x="76521" y="118949"/>
                    </a:lnTo>
                    <a:lnTo>
                      <a:pt x="47899" y="81741"/>
                    </a:lnTo>
                    <a:lnTo>
                      <a:pt x="22328" y="420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8" name="object 28">
                <a:extLst>
                  <a:ext uri="{FF2B5EF4-FFF2-40B4-BE49-F238E27FC236}">
                    <a16:creationId xmlns:a16="http://schemas.microsoft.com/office/drawing/2014/main" xmlns="" id="{2F91B168-9895-E1AA-0D7B-9AAD75091320}"/>
                  </a:ext>
                </a:extLst>
              </p:cNvPr>
              <p:cNvSpPr/>
              <p:nvPr/>
            </p:nvSpPr>
            <p:spPr>
              <a:xfrm>
                <a:off x="5586902" y="1909393"/>
                <a:ext cx="1128395" cy="1124585"/>
              </a:xfrm>
              <a:custGeom>
                <a:avLst/>
                <a:gdLst/>
                <a:ahLst/>
                <a:cxnLst/>
                <a:rect l="l" t="t" r="r" b="b"/>
                <a:pathLst>
                  <a:path w="1128395" h="1124585">
                    <a:moveTo>
                      <a:pt x="559054" y="0"/>
                    </a:moveTo>
                    <a:lnTo>
                      <a:pt x="512772" y="2314"/>
                    </a:lnTo>
                    <a:lnTo>
                      <a:pt x="467133" y="8390"/>
                    </a:lnTo>
                    <a:lnTo>
                      <a:pt x="422354" y="18120"/>
                    </a:lnTo>
                    <a:lnTo>
                      <a:pt x="378650" y="31401"/>
                    </a:lnTo>
                    <a:lnTo>
                      <a:pt x="336175" y="48155"/>
                    </a:lnTo>
                    <a:lnTo>
                      <a:pt x="295324" y="68190"/>
                    </a:lnTo>
                    <a:lnTo>
                      <a:pt x="256132" y="91488"/>
                    </a:lnTo>
                    <a:lnTo>
                      <a:pt x="218874" y="117914"/>
                    </a:lnTo>
                    <a:lnTo>
                      <a:pt x="183766" y="147363"/>
                    </a:lnTo>
                    <a:lnTo>
                      <a:pt x="151021" y="179730"/>
                    </a:lnTo>
                    <a:lnTo>
                      <a:pt x="120855" y="214909"/>
                    </a:lnTo>
                    <a:lnTo>
                      <a:pt x="93483" y="252794"/>
                    </a:lnTo>
                    <a:lnTo>
                      <a:pt x="69120" y="293281"/>
                    </a:lnTo>
                    <a:lnTo>
                      <a:pt x="47981" y="336264"/>
                    </a:lnTo>
                    <a:lnTo>
                      <a:pt x="30280" y="381638"/>
                    </a:lnTo>
                    <a:lnTo>
                      <a:pt x="16284" y="429292"/>
                    </a:lnTo>
                    <a:lnTo>
                      <a:pt x="6627" y="477360"/>
                    </a:lnTo>
                    <a:lnTo>
                      <a:pt x="1226" y="525589"/>
                    </a:lnTo>
                    <a:lnTo>
                      <a:pt x="0" y="573726"/>
                    </a:lnTo>
                    <a:lnTo>
                      <a:pt x="2865" y="621518"/>
                    </a:lnTo>
                    <a:lnTo>
                      <a:pt x="9741" y="668710"/>
                    </a:lnTo>
                    <a:lnTo>
                      <a:pt x="20545" y="715051"/>
                    </a:lnTo>
                    <a:lnTo>
                      <a:pt x="35195" y="760285"/>
                    </a:lnTo>
                    <a:lnTo>
                      <a:pt x="53609" y="804161"/>
                    </a:lnTo>
                    <a:lnTo>
                      <a:pt x="75705" y="846424"/>
                    </a:lnTo>
                    <a:lnTo>
                      <a:pt x="101401" y="886822"/>
                    </a:lnTo>
                    <a:lnTo>
                      <a:pt x="130616" y="925100"/>
                    </a:lnTo>
                    <a:lnTo>
                      <a:pt x="163266" y="961006"/>
                    </a:lnTo>
                    <a:lnTo>
                      <a:pt x="199270" y="994286"/>
                    </a:lnTo>
                    <a:lnTo>
                      <a:pt x="238546" y="1024686"/>
                    </a:lnTo>
                    <a:lnTo>
                      <a:pt x="297385" y="1061172"/>
                    </a:lnTo>
                    <a:lnTo>
                      <a:pt x="360291" y="1090088"/>
                    </a:lnTo>
                    <a:lnTo>
                      <a:pt x="410968" y="1105086"/>
                    </a:lnTo>
                    <a:lnTo>
                      <a:pt x="462493" y="1115779"/>
                    </a:lnTo>
                    <a:lnTo>
                      <a:pt x="514596" y="1122156"/>
                    </a:lnTo>
                    <a:lnTo>
                      <a:pt x="567005" y="1124206"/>
                    </a:lnTo>
                    <a:lnTo>
                      <a:pt x="619447" y="1121919"/>
                    </a:lnTo>
                    <a:lnTo>
                      <a:pt x="671652" y="1115282"/>
                    </a:lnTo>
                    <a:lnTo>
                      <a:pt x="723348" y="1104286"/>
                    </a:lnTo>
                    <a:lnTo>
                      <a:pt x="722887" y="1104286"/>
                    </a:lnTo>
                    <a:lnTo>
                      <a:pt x="768964" y="1083274"/>
                    </a:lnTo>
                    <a:lnTo>
                      <a:pt x="813274" y="1059150"/>
                    </a:lnTo>
                    <a:lnTo>
                      <a:pt x="855671" y="1032032"/>
                    </a:lnTo>
                    <a:lnTo>
                      <a:pt x="862350" y="1027066"/>
                    </a:lnTo>
                    <a:lnTo>
                      <a:pt x="617067" y="1027066"/>
                    </a:lnTo>
                    <a:lnTo>
                      <a:pt x="572256" y="1023952"/>
                    </a:lnTo>
                    <a:lnTo>
                      <a:pt x="527702" y="1016472"/>
                    </a:lnTo>
                    <a:lnTo>
                      <a:pt x="483730" y="1004570"/>
                    </a:lnTo>
                    <a:lnTo>
                      <a:pt x="440668" y="988189"/>
                    </a:lnTo>
                    <a:lnTo>
                      <a:pt x="398841" y="967273"/>
                    </a:lnTo>
                    <a:lnTo>
                      <a:pt x="358574" y="941767"/>
                    </a:lnTo>
                    <a:lnTo>
                      <a:pt x="321066" y="912324"/>
                    </a:lnTo>
                    <a:lnTo>
                      <a:pt x="287366" y="879873"/>
                    </a:lnTo>
                    <a:lnTo>
                      <a:pt x="257532" y="844742"/>
                    </a:lnTo>
                    <a:lnTo>
                      <a:pt x="231618" y="807256"/>
                    </a:lnTo>
                    <a:lnTo>
                      <a:pt x="209681" y="767743"/>
                    </a:lnTo>
                    <a:lnTo>
                      <a:pt x="191777" y="726528"/>
                    </a:lnTo>
                    <a:lnTo>
                      <a:pt x="177962" y="683938"/>
                    </a:lnTo>
                    <a:lnTo>
                      <a:pt x="168293" y="640299"/>
                    </a:lnTo>
                    <a:lnTo>
                      <a:pt x="162825" y="595937"/>
                    </a:lnTo>
                    <a:lnTo>
                      <a:pt x="161615" y="551179"/>
                    </a:lnTo>
                    <a:lnTo>
                      <a:pt x="164719" y="506351"/>
                    </a:lnTo>
                    <a:lnTo>
                      <a:pt x="172193" y="461780"/>
                    </a:lnTo>
                    <a:lnTo>
                      <a:pt x="184093" y="417791"/>
                    </a:lnTo>
                    <a:lnTo>
                      <a:pt x="200476" y="374711"/>
                    </a:lnTo>
                    <a:lnTo>
                      <a:pt x="221397" y="332866"/>
                    </a:lnTo>
                    <a:lnTo>
                      <a:pt x="246912" y="292583"/>
                    </a:lnTo>
                    <a:lnTo>
                      <a:pt x="276356" y="255075"/>
                    </a:lnTo>
                    <a:lnTo>
                      <a:pt x="308807" y="221376"/>
                    </a:lnTo>
                    <a:lnTo>
                      <a:pt x="343938" y="191542"/>
                    </a:lnTo>
                    <a:lnTo>
                      <a:pt x="381424" y="165628"/>
                    </a:lnTo>
                    <a:lnTo>
                      <a:pt x="420937" y="143692"/>
                    </a:lnTo>
                    <a:lnTo>
                      <a:pt x="462152" y="125789"/>
                    </a:lnTo>
                    <a:lnTo>
                      <a:pt x="504743" y="111975"/>
                    </a:lnTo>
                    <a:lnTo>
                      <a:pt x="548382" y="102306"/>
                    </a:lnTo>
                    <a:lnTo>
                      <a:pt x="592744" y="96839"/>
                    </a:lnTo>
                    <a:lnTo>
                      <a:pt x="637503" y="95629"/>
                    </a:lnTo>
                    <a:lnTo>
                      <a:pt x="877901" y="95629"/>
                    </a:lnTo>
                    <a:lnTo>
                      <a:pt x="875172" y="93657"/>
                    </a:lnTo>
                    <a:lnTo>
                      <a:pt x="834685" y="69295"/>
                    </a:lnTo>
                    <a:lnTo>
                      <a:pt x="791628" y="48126"/>
                    </a:lnTo>
                    <a:lnTo>
                      <a:pt x="746332" y="30455"/>
                    </a:lnTo>
                    <a:lnTo>
                      <a:pt x="699620" y="16673"/>
                    </a:lnTo>
                    <a:lnTo>
                      <a:pt x="652694" y="7074"/>
                    </a:lnTo>
                    <a:lnTo>
                      <a:pt x="605767" y="1551"/>
                    </a:lnTo>
                    <a:lnTo>
                      <a:pt x="559054" y="0"/>
                    </a:lnTo>
                    <a:close/>
                  </a:path>
                  <a:path w="1128395" h="1124585">
                    <a:moveTo>
                      <a:pt x="877901" y="95629"/>
                    </a:moveTo>
                    <a:lnTo>
                      <a:pt x="637503" y="95629"/>
                    </a:lnTo>
                    <a:lnTo>
                      <a:pt x="682332" y="98733"/>
                    </a:lnTo>
                    <a:lnTo>
                      <a:pt x="726905" y="106207"/>
                    </a:lnTo>
                    <a:lnTo>
                      <a:pt x="770895" y="118106"/>
                    </a:lnTo>
                    <a:lnTo>
                      <a:pt x="813976" y="134488"/>
                    </a:lnTo>
                    <a:lnTo>
                      <a:pt x="855822" y="155408"/>
                    </a:lnTo>
                    <a:lnTo>
                      <a:pt x="896107" y="180922"/>
                    </a:lnTo>
                    <a:lnTo>
                      <a:pt x="933615" y="210365"/>
                    </a:lnTo>
                    <a:lnTo>
                      <a:pt x="967314" y="242816"/>
                    </a:lnTo>
                    <a:lnTo>
                      <a:pt x="997148" y="277947"/>
                    </a:lnTo>
                    <a:lnTo>
                      <a:pt x="1023062" y="315433"/>
                    </a:lnTo>
                    <a:lnTo>
                      <a:pt x="1044998" y="354946"/>
                    </a:lnTo>
                    <a:lnTo>
                      <a:pt x="1062901" y="396161"/>
                    </a:lnTo>
                    <a:lnTo>
                      <a:pt x="1076715" y="438752"/>
                    </a:lnTo>
                    <a:lnTo>
                      <a:pt x="1086383" y="482391"/>
                    </a:lnTo>
                    <a:lnTo>
                      <a:pt x="1091850" y="526754"/>
                    </a:lnTo>
                    <a:lnTo>
                      <a:pt x="1093059" y="571512"/>
                    </a:lnTo>
                    <a:lnTo>
                      <a:pt x="1089954" y="616341"/>
                    </a:lnTo>
                    <a:lnTo>
                      <a:pt x="1082479" y="660914"/>
                    </a:lnTo>
                    <a:lnTo>
                      <a:pt x="1070578" y="704904"/>
                    </a:lnTo>
                    <a:lnTo>
                      <a:pt x="1054195" y="747985"/>
                    </a:lnTo>
                    <a:lnTo>
                      <a:pt x="1033274" y="789832"/>
                    </a:lnTo>
                    <a:lnTo>
                      <a:pt x="1007758" y="830116"/>
                    </a:lnTo>
                    <a:lnTo>
                      <a:pt x="978148" y="867813"/>
                    </a:lnTo>
                    <a:lnTo>
                      <a:pt x="945692" y="901483"/>
                    </a:lnTo>
                    <a:lnTo>
                      <a:pt x="910559" y="931290"/>
                    </a:lnTo>
                    <a:lnTo>
                      <a:pt x="873076" y="957177"/>
                    </a:lnTo>
                    <a:lnTo>
                      <a:pt x="833568" y="979089"/>
                    </a:lnTo>
                    <a:lnTo>
                      <a:pt x="792362" y="996970"/>
                    </a:lnTo>
                    <a:lnTo>
                      <a:pt x="749782" y="1010764"/>
                    </a:lnTo>
                    <a:lnTo>
                      <a:pt x="706156" y="1020416"/>
                    </a:lnTo>
                    <a:lnTo>
                      <a:pt x="661809" y="1025868"/>
                    </a:lnTo>
                    <a:lnTo>
                      <a:pt x="617067" y="1027066"/>
                    </a:lnTo>
                    <a:lnTo>
                      <a:pt x="862350" y="1027066"/>
                    </a:lnTo>
                    <a:lnTo>
                      <a:pt x="896009" y="1002037"/>
                    </a:lnTo>
                    <a:lnTo>
                      <a:pt x="934140" y="969283"/>
                    </a:lnTo>
                    <a:lnTo>
                      <a:pt x="969919" y="933888"/>
                    </a:lnTo>
                    <a:lnTo>
                      <a:pt x="1003198" y="895969"/>
                    </a:lnTo>
                    <a:lnTo>
                      <a:pt x="1033831" y="855644"/>
                    </a:lnTo>
                    <a:lnTo>
                      <a:pt x="1068055" y="802465"/>
                    </a:lnTo>
                    <a:lnTo>
                      <a:pt x="1097504" y="746506"/>
                    </a:lnTo>
                    <a:lnTo>
                      <a:pt x="1111287" y="699794"/>
                    </a:lnTo>
                    <a:lnTo>
                      <a:pt x="1120888" y="652866"/>
                    </a:lnTo>
                    <a:lnTo>
                      <a:pt x="1126412" y="605938"/>
                    </a:lnTo>
                    <a:lnTo>
                      <a:pt x="1127964" y="559225"/>
                    </a:lnTo>
                    <a:lnTo>
                      <a:pt x="1125650" y="512942"/>
                    </a:lnTo>
                    <a:lnTo>
                      <a:pt x="1119574" y="467303"/>
                    </a:lnTo>
                    <a:lnTo>
                      <a:pt x="1109844" y="422525"/>
                    </a:lnTo>
                    <a:lnTo>
                      <a:pt x="1096563" y="378820"/>
                    </a:lnTo>
                    <a:lnTo>
                      <a:pt x="1079769" y="336264"/>
                    </a:lnTo>
                    <a:lnTo>
                      <a:pt x="1059774" y="295495"/>
                    </a:lnTo>
                    <a:lnTo>
                      <a:pt x="1036476" y="256303"/>
                    </a:lnTo>
                    <a:lnTo>
                      <a:pt x="1010050" y="219046"/>
                    </a:lnTo>
                    <a:lnTo>
                      <a:pt x="980601" y="183938"/>
                    </a:lnTo>
                    <a:lnTo>
                      <a:pt x="948235" y="151194"/>
                    </a:lnTo>
                    <a:lnTo>
                      <a:pt x="913056" y="121029"/>
                    </a:lnTo>
                    <a:lnTo>
                      <a:pt x="877901" y="95629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9" name="object 29">
                <a:extLst>
                  <a:ext uri="{FF2B5EF4-FFF2-40B4-BE49-F238E27FC236}">
                    <a16:creationId xmlns:a16="http://schemas.microsoft.com/office/drawing/2014/main" xmlns="" id="{1F1FCAEB-451B-D379-2964-A2882ABDCE81}"/>
                  </a:ext>
                </a:extLst>
              </p:cNvPr>
              <p:cNvSpPr/>
              <p:nvPr/>
            </p:nvSpPr>
            <p:spPr>
              <a:xfrm>
                <a:off x="5935642" y="2141146"/>
                <a:ext cx="767080" cy="762000"/>
              </a:xfrm>
              <a:custGeom>
                <a:avLst/>
                <a:gdLst/>
                <a:ahLst/>
                <a:cxnLst/>
                <a:rect l="l" t="t" r="r" b="b"/>
                <a:pathLst>
                  <a:path w="767079" h="762000">
                    <a:moveTo>
                      <a:pt x="383253" y="0"/>
                    </a:moveTo>
                    <a:lnTo>
                      <a:pt x="338054" y="2015"/>
                    </a:lnTo>
                    <a:lnTo>
                      <a:pt x="293541" y="9287"/>
                    </a:lnTo>
                    <a:lnTo>
                      <a:pt x="250212" y="21732"/>
                    </a:lnTo>
                    <a:lnTo>
                      <a:pt x="208568" y="39269"/>
                    </a:lnTo>
                    <a:lnTo>
                      <a:pt x="169106" y="61814"/>
                    </a:lnTo>
                    <a:lnTo>
                      <a:pt x="132328" y="89286"/>
                    </a:lnTo>
                    <a:lnTo>
                      <a:pt x="98731" y="121603"/>
                    </a:lnTo>
                    <a:lnTo>
                      <a:pt x="68815" y="158682"/>
                    </a:lnTo>
                    <a:lnTo>
                      <a:pt x="43793" y="199223"/>
                    </a:lnTo>
                    <a:lnTo>
                      <a:pt x="24486" y="241649"/>
                    </a:lnTo>
                    <a:lnTo>
                      <a:pt x="10810" y="285462"/>
                    </a:lnTo>
                    <a:lnTo>
                      <a:pt x="2676" y="330163"/>
                    </a:lnTo>
                    <a:lnTo>
                      <a:pt x="0" y="375256"/>
                    </a:lnTo>
                    <a:lnTo>
                      <a:pt x="2693" y="420242"/>
                    </a:lnTo>
                    <a:lnTo>
                      <a:pt x="10672" y="464623"/>
                    </a:lnTo>
                    <a:lnTo>
                      <a:pt x="23848" y="507902"/>
                    </a:lnTo>
                    <a:lnTo>
                      <a:pt x="42136" y="549579"/>
                    </a:lnTo>
                    <a:lnTo>
                      <a:pt x="65449" y="589157"/>
                    </a:lnTo>
                    <a:lnTo>
                      <a:pt x="93701" y="626139"/>
                    </a:lnTo>
                    <a:lnTo>
                      <a:pt x="126805" y="660026"/>
                    </a:lnTo>
                    <a:lnTo>
                      <a:pt x="164676" y="690320"/>
                    </a:lnTo>
                    <a:lnTo>
                      <a:pt x="205815" y="715795"/>
                    </a:lnTo>
                    <a:lnTo>
                      <a:pt x="248765" y="735610"/>
                    </a:lnTo>
                    <a:lnTo>
                      <a:pt x="293025" y="749847"/>
                    </a:lnTo>
                    <a:lnTo>
                      <a:pt x="338098" y="758588"/>
                    </a:lnTo>
                    <a:lnTo>
                      <a:pt x="383483" y="761914"/>
                    </a:lnTo>
                    <a:lnTo>
                      <a:pt x="428681" y="759907"/>
                    </a:lnTo>
                    <a:lnTo>
                      <a:pt x="472220" y="752808"/>
                    </a:lnTo>
                    <a:lnTo>
                      <a:pt x="378806" y="752808"/>
                    </a:lnTo>
                    <a:lnTo>
                      <a:pt x="328291" y="752173"/>
                    </a:lnTo>
                    <a:lnTo>
                      <a:pt x="278626" y="742921"/>
                    </a:lnTo>
                    <a:lnTo>
                      <a:pt x="230958" y="725167"/>
                    </a:lnTo>
                    <a:lnTo>
                      <a:pt x="186434" y="699021"/>
                    </a:lnTo>
                    <a:lnTo>
                      <a:pt x="178644" y="692844"/>
                    </a:lnTo>
                    <a:lnTo>
                      <a:pt x="171314" y="686886"/>
                    </a:lnTo>
                    <a:lnTo>
                      <a:pt x="125496" y="652450"/>
                    </a:lnTo>
                    <a:lnTo>
                      <a:pt x="93750" y="619182"/>
                    </a:lnTo>
                    <a:lnTo>
                      <a:pt x="67132" y="582621"/>
                    </a:lnTo>
                    <a:lnTo>
                      <a:pt x="45748" y="543339"/>
                    </a:lnTo>
                    <a:lnTo>
                      <a:pt x="29699" y="501911"/>
                    </a:lnTo>
                    <a:lnTo>
                      <a:pt x="19090" y="458911"/>
                    </a:lnTo>
                    <a:lnTo>
                      <a:pt x="14023" y="414912"/>
                    </a:lnTo>
                    <a:lnTo>
                      <a:pt x="14603" y="370488"/>
                    </a:lnTo>
                    <a:lnTo>
                      <a:pt x="20933" y="326213"/>
                    </a:lnTo>
                    <a:lnTo>
                      <a:pt x="33115" y="282661"/>
                    </a:lnTo>
                    <a:lnTo>
                      <a:pt x="51254" y="240405"/>
                    </a:lnTo>
                    <a:lnTo>
                      <a:pt x="75453" y="200021"/>
                    </a:lnTo>
                    <a:lnTo>
                      <a:pt x="104930" y="163819"/>
                    </a:lnTo>
                    <a:lnTo>
                      <a:pt x="138288" y="132692"/>
                    </a:lnTo>
                    <a:lnTo>
                      <a:pt x="174950" y="106734"/>
                    </a:lnTo>
                    <a:lnTo>
                      <a:pt x="214340" y="86037"/>
                    </a:lnTo>
                    <a:lnTo>
                      <a:pt x="255882" y="70696"/>
                    </a:lnTo>
                    <a:lnTo>
                      <a:pt x="299000" y="60804"/>
                    </a:lnTo>
                    <a:lnTo>
                      <a:pt x="343118" y="56454"/>
                    </a:lnTo>
                    <a:lnTo>
                      <a:pt x="577559" y="56454"/>
                    </a:lnTo>
                    <a:lnTo>
                      <a:pt x="560918" y="46140"/>
                    </a:lnTo>
                    <a:lnTo>
                      <a:pt x="517969" y="26310"/>
                    </a:lnTo>
                    <a:lnTo>
                      <a:pt x="473710" y="12064"/>
                    </a:lnTo>
                    <a:lnTo>
                      <a:pt x="428638" y="3322"/>
                    </a:lnTo>
                    <a:lnTo>
                      <a:pt x="383253" y="0"/>
                    </a:lnTo>
                    <a:close/>
                  </a:path>
                  <a:path w="767079" h="762000">
                    <a:moveTo>
                      <a:pt x="577559" y="56454"/>
                    </a:moveTo>
                    <a:lnTo>
                      <a:pt x="343118" y="56454"/>
                    </a:lnTo>
                    <a:lnTo>
                      <a:pt x="387659" y="57740"/>
                    </a:lnTo>
                    <a:lnTo>
                      <a:pt x="432048" y="64755"/>
                    </a:lnTo>
                    <a:lnTo>
                      <a:pt x="475709" y="77594"/>
                    </a:lnTo>
                    <a:lnTo>
                      <a:pt x="518064" y="96348"/>
                    </a:lnTo>
                    <a:lnTo>
                      <a:pt x="558538" y="121112"/>
                    </a:lnTo>
                    <a:lnTo>
                      <a:pt x="558308" y="121112"/>
                    </a:lnTo>
                    <a:lnTo>
                      <a:pt x="595165" y="151024"/>
                    </a:lnTo>
                    <a:lnTo>
                      <a:pt x="626983" y="184713"/>
                    </a:lnTo>
                    <a:lnTo>
                      <a:pt x="653660" y="221605"/>
                    </a:lnTo>
                    <a:lnTo>
                      <a:pt x="675090" y="261125"/>
                    </a:lnTo>
                    <a:lnTo>
                      <a:pt x="691171" y="302698"/>
                    </a:lnTo>
                    <a:lnTo>
                      <a:pt x="701798" y="345749"/>
                    </a:lnTo>
                    <a:lnTo>
                      <a:pt x="706869" y="389705"/>
                    </a:lnTo>
                    <a:lnTo>
                      <a:pt x="706278" y="433990"/>
                    </a:lnTo>
                    <a:lnTo>
                      <a:pt x="699924" y="478030"/>
                    </a:lnTo>
                    <a:lnTo>
                      <a:pt x="687701" y="521249"/>
                    </a:lnTo>
                    <a:lnTo>
                      <a:pt x="669507" y="563074"/>
                    </a:lnTo>
                    <a:lnTo>
                      <a:pt x="645237" y="602930"/>
                    </a:lnTo>
                    <a:lnTo>
                      <a:pt x="611173" y="643783"/>
                    </a:lnTo>
                    <a:lnTo>
                      <a:pt x="571389" y="678597"/>
                    </a:lnTo>
                    <a:lnTo>
                      <a:pt x="526668" y="706788"/>
                    </a:lnTo>
                    <a:lnTo>
                      <a:pt x="477797" y="727774"/>
                    </a:lnTo>
                    <a:lnTo>
                      <a:pt x="429024" y="744712"/>
                    </a:lnTo>
                    <a:lnTo>
                      <a:pt x="378806" y="752808"/>
                    </a:lnTo>
                    <a:lnTo>
                      <a:pt x="472220" y="752808"/>
                    </a:lnTo>
                    <a:lnTo>
                      <a:pt x="516522" y="740221"/>
                    </a:lnTo>
                    <a:lnTo>
                      <a:pt x="558165" y="722704"/>
                    </a:lnTo>
                    <a:lnTo>
                      <a:pt x="597626" y="700182"/>
                    </a:lnTo>
                    <a:lnTo>
                      <a:pt x="634404" y="672734"/>
                    </a:lnTo>
                    <a:lnTo>
                      <a:pt x="668000" y="640443"/>
                    </a:lnTo>
                    <a:lnTo>
                      <a:pt x="697916" y="603391"/>
                    </a:lnTo>
                    <a:lnTo>
                      <a:pt x="722927" y="562872"/>
                    </a:lnTo>
                    <a:lnTo>
                      <a:pt x="742204" y="520461"/>
                    </a:lnTo>
                    <a:lnTo>
                      <a:pt x="755838" y="476657"/>
                    </a:lnTo>
                    <a:lnTo>
                      <a:pt x="763921" y="431957"/>
                    </a:lnTo>
                    <a:lnTo>
                      <a:pt x="766546" y="386860"/>
                    </a:lnTo>
                    <a:lnTo>
                      <a:pt x="763803" y="341865"/>
                    </a:lnTo>
                    <a:lnTo>
                      <a:pt x="755786" y="297471"/>
                    </a:lnTo>
                    <a:lnTo>
                      <a:pt x="742586" y="254176"/>
                    </a:lnTo>
                    <a:lnTo>
                      <a:pt x="724294" y="212478"/>
                    </a:lnTo>
                    <a:lnTo>
                      <a:pt x="701004" y="172877"/>
                    </a:lnTo>
                    <a:lnTo>
                      <a:pt x="672805" y="135871"/>
                    </a:lnTo>
                    <a:lnTo>
                      <a:pt x="639792" y="101958"/>
                    </a:lnTo>
                    <a:lnTo>
                      <a:pt x="602055" y="71637"/>
                    </a:lnTo>
                    <a:lnTo>
                      <a:pt x="577559" y="5645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3" name="object 12">
              <a:extLst>
                <a:ext uri="{FF2B5EF4-FFF2-40B4-BE49-F238E27FC236}">
                  <a16:creationId xmlns:a16="http://schemas.microsoft.com/office/drawing/2014/main" xmlns="" id="{09F15B44-E847-371C-CD20-54C19417EB35}"/>
                </a:ext>
              </a:extLst>
            </p:cNvPr>
            <p:cNvGrpSpPr/>
            <p:nvPr/>
          </p:nvGrpSpPr>
          <p:grpSpPr>
            <a:xfrm>
              <a:off x="15528259" y="425515"/>
              <a:ext cx="4003675" cy="5353050"/>
              <a:chOff x="15131167" y="948417"/>
              <a:chExt cx="4003675" cy="5353050"/>
            </a:xfrm>
          </p:grpSpPr>
          <p:sp>
            <p:nvSpPr>
              <p:cNvPr id="14" name="object 13">
                <a:extLst>
                  <a:ext uri="{FF2B5EF4-FFF2-40B4-BE49-F238E27FC236}">
                    <a16:creationId xmlns:a16="http://schemas.microsoft.com/office/drawing/2014/main" xmlns="" id="{4A23BE19-4DB6-7E39-0206-F284940C97D1}"/>
                  </a:ext>
                </a:extLst>
              </p:cNvPr>
              <p:cNvSpPr/>
              <p:nvPr/>
            </p:nvSpPr>
            <p:spPr>
              <a:xfrm>
                <a:off x="15222510" y="4861129"/>
                <a:ext cx="3820795" cy="1348740"/>
              </a:xfrm>
              <a:custGeom>
                <a:avLst/>
                <a:gdLst/>
                <a:ahLst/>
                <a:cxnLst/>
                <a:rect l="l" t="t" r="r" b="b"/>
                <a:pathLst>
                  <a:path w="3820794" h="1348739">
                    <a:moveTo>
                      <a:pt x="0" y="1348660"/>
                    </a:moveTo>
                    <a:lnTo>
                      <a:pt x="3820710" y="1348660"/>
                    </a:lnTo>
                    <a:lnTo>
                      <a:pt x="3820710" y="0"/>
                    </a:lnTo>
                    <a:lnTo>
                      <a:pt x="0" y="0"/>
                    </a:lnTo>
                    <a:lnTo>
                      <a:pt x="0" y="1348660"/>
                    </a:lnTo>
                    <a:close/>
                  </a:path>
                </a:pathLst>
              </a:custGeom>
              <a:ln w="182685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5" name="object 14">
                <a:extLst>
                  <a:ext uri="{FF2B5EF4-FFF2-40B4-BE49-F238E27FC236}">
                    <a16:creationId xmlns:a16="http://schemas.microsoft.com/office/drawing/2014/main" xmlns="" id="{1A74369B-89E0-54ED-8835-D705112742F9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7516148" y="1468723"/>
                <a:ext cx="193941" cy="241950"/>
              </a:xfrm>
              <a:prstGeom prst="rect">
                <a:avLst/>
              </a:prstGeom>
            </p:spPr>
          </p:pic>
          <p:sp>
            <p:nvSpPr>
              <p:cNvPr id="16" name="object 15">
                <a:extLst>
                  <a:ext uri="{FF2B5EF4-FFF2-40B4-BE49-F238E27FC236}">
                    <a16:creationId xmlns:a16="http://schemas.microsoft.com/office/drawing/2014/main" xmlns="" id="{A952FE3B-C495-917B-9364-DAF1B5D77809}"/>
                  </a:ext>
                </a:extLst>
              </p:cNvPr>
              <p:cNvSpPr/>
              <p:nvPr/>
            </p:nvSpPr>
            <p:spPr>
              <a:xfrm>
                <a:off x="17740986" y="1373599"/>
                <a:ext cx="46990" cy="336550"/>
              </a:xfrm>
              <a:custGeom>
                <a:avLst/>
                <a:gdLst/>
                <a:ahLst/>
                <a:cxnLst/>
                <a:rect l="l" t="t" r="r" b="b"/>
                <a:pathLst>
                  <a:path w="46990" h="336550">
                    <a:moveTo>
                      <a:pt x="46786" y="95097"/>
                    </a:moveTo>
                    <a:lnTo>
                      <a:pt x="0" y="95097"/>
                    </a:lnTo>
                    <a:lnTo>
                      <a:pt x="0" y="336473"/>
                    </a:lnTo>
                    <a:lnTo>
                      <a:pt x="46786" y="336473"/>
                    </a:lnTo>
                    <a:lnTo>
                      <a:pt x="46786" y="95097"/>
                    </a:lnTo>
                    <a:close/>
                  </a:path>
                  <a:path w="46990" h="336550">
                    <a:moveTo>
                      <a:pt x="46786" y="0"/>
                    </a:moveTo>
                    <a:lnTo>
                      <a:pt x="0" y="0"/>
                    </a:lnTo>
                    <a:lnTo>
                      <a:pt x="0" y="46799"/>
                    </a:lnTo>
                    <a:lnTo>
                      <a:pt x="46786" y="46799"/>
                    </a:lnTo>
                    <a:lnTo>
                      <a:pt x="46786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7" name="object 16">
                <a:extLst>
                  <a:ext uri="{FF2B5EF4-FFF2-40B4-BE49-F238E27FC236}">
                    <a16:creationId xmlns:a16="http://schemas.microsoft.com/office/drawing/2014/main" xmlns="" id="{12278E24-78B2-C7F6-426C-56C0A5A83F17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7824631" y="1468689"/>
                <a:ext cx="224118" cy="241385"/>
              </a:xfrm>
              <a:prstGeom prst="rect">
                <a:avLst/>
              </a:prstGeom>
            </p:spPr>
          </p:pic>
          <p:sp>
            <p:nvSpPr>
              <p:cNvPr id="18" name="object 17">
                <a:extLst>
                  <a:ext uri="{FF2B5EF4-FFF2-40B4-BE49-F238E27FC236}">
                    <a16:creationId xmlns:a16="http://schemas.microsoft.com/office/drawing/2014/main" xmlns="" id="{A83FFFEF-F345-C888-B1F5-F460DCFA25BC}"/>
                  </a:ext>
                </a:extLst>
              </p:cNvPr>
              <p:cNvSpPr/>
              <p:nvPr/>
            </p:nvSpPr>
            <p:spPr>
              <a:xfrm>
                <a:off x="18082274" y="1373501"/>
                <a:ext cx="224154" cy="337185"/>
              </a:xfrm>
              <a:custGeom>
                <a:avLst/>
                <a:gdLst/>
                <a:ahLst/>
                <a:cxnLst/>
                <a:rect l="l" t="t" r="r" b="b"/>
                <a:pathLst>
                  <a:path w="224155" h="337185">
                    <a:moveTo>
                      <a:pt x="224118" y="0"/>
                    </a:moveTo>
                    <a:lnTo>
                      <a:pt x="177010" y="0"/>
                    </a:lnTo>
                    <a:lnTo>
                      <a:pt x="177010" y="95180"/>
                    </a:lnTo>
                    <a:lnTo>
                      <a:pt x="112300" y="95180"/>
                    </a:lnTo>
                    <a:lnTo>
                      <a:pt x="63168" y="102742"/>
                    </a:lnTo>
                    <a:lnTo>
                      <a:pt x="28075" y="125383"/>
                    </a:lnTo>
                    <a:lnTo>
                      <a:pt x="7018" y="163102"/>
                    </a:lnTo>
                    <a:lnTo>
                      <a:pt x="0" y="215899"/>
                    </a:lnTo>
                    <a:lnTo>
                      <a:pt x="7195" y="268916"/>
                    </a:lnTo>
                    <a:lnTo>
                      <a:pt x="28310" y="306777"/>
                    </a:lnTo>
                    <a:lnTo>
                      <a:pt x="63345" y="329483"/>
                    </a:lnTo>
                    <a:lnTo>
                      <a:pt x="112300" y="337036"/>
                    </a:lnTo>
                    <a:lnTo>
                      <a:pt x="161219" y="329452"/>
                    </a:lnTo>
                    <a:lnTo>
                      <a:pt x="196162" y="306734"/>
                    </a:lnTo>
                    <a:lnTo>
                      <a:pt x="205373" y="290106"/>
                    </a:lnTo>
                    <a:lnTo>
                      <a:pt x="112300" y="290106"/>
                    </a:lnTo>
                    <a:lnTo>
                      <a:pt x="94909" y="288834"/>
                    </a:lnTo>
                    <a:lnTo>
                      <a:pt x="59746" y="269468"/>
                    </a:lnTo>
                    <a:lnTo>
                      <a:pt x="47537" y="215899"/>
                    </a:lnTo>
                    <a:lnTo>
                      <a:pt x="48299" y="198634"/>
                    </a:lnTo>
                    <a:lnTo>
                      <a:pt x="59746" y="162246"/>
                    </a:lnTo>
                    <a:lnTo>
                      <a:pt x="94919" y="143336"/>
                    </a:lnTo>
                    <a:lnTo>
                      <a:pt x="112300" y="142068"/>
                    </a:lnTo>
                    <a:lnTo>
                      <a:pt x="224118" y="142068"/>
                    </a:lnTo>
                    <a:lnTo>
                      <a:pt x="224118" y="0"/>
                    </a:lnTo>
                    <a:close/>
                  </a:path>
                  <a:path w="224155" h="337185">
                    <a:moveTo>
                      <a:pt x="224118" y="142068"/>
                    </a:moveTo>
                    <a:lnTo>
                      <a:pt x="177010" y="142068"/>
                    </a:lnTo>
                    <a:lnTo>
                      <a:pt x="177010" y="215899"/>
                    </a:lnTo>
                    <a:lnTo>
                      <a:pt x="176264" y="233160"/>
                    </a:lnTo>
                    <a:lnTo>
                      <a:pt x="155935" y="278479"/>
                    </a:lnTo>
                    <a:lnTo>
                      <a:pt x="112300" y="290106"/>
                    </a:lnTo>
                    <a:lnTo>
                      <a:pt x="205373" y="290106"/>
                    </a:lnTo>
                    <a:lnTo>
                      <a:pt x="217129" y="268882"/>
                    </a:lnTo>
                    <a:lnTo>
                      <a:pt x="224118" y="215899"/>
                    </a:lnTo>
                    <a:lnTo>
                      <a:pt x="224118" y="142068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" name="object 18">
                <a:extLst>
                  <a:ext uri="{FF2B5EF4-FFF2-40B4-BE49-F238E27FC236}">
                    <a16:creationId xmlns:a16="http://schemas.microsoft.com/office/drawing/2014/main" xmlns="" id="{90B97F4A-6244-E6F8-11B3-E90AB85A269D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8341749" y="1468684"/>
                <a:ext cx="460443" cy="241386"/>
              </a:xfrm>
              <a:prstGeom prst="rect">
                <a:avLst/>
              </a:prstGeom>
            </p:spPr>
          </p:pic>
          <p:pic>
            <p:nvPicPr>
              <p:cNvPr id="20" name="object 19">
                <a:extLst>
                  <a:ext uri="{FF2B5EF4-FFF2-40B4-BE49-F238E27FC236}">
                    <a16:creationId xmlns:a16="http://schemas.microsoft.com/office/drawing/2014/main" xmlns="" id="{740B21CD-038C-FC1F-5C4A-569F1400187D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8837037" y="1468689"/>
                <a:ext cx="224160" cy="241385"/>
              </a:xfrm>
              <a:prstGeom prst="rect">
                <a:avLst/>
              </a:prstGeom>
            </p:spPr>
          </p:pic>
          <p:pic>
            <p:nvPicPr>
              <p:cNvPr id="21" name="object 20">
                <a:extLst>
                  <a:ext uri="{FF2B5EF4-FFF2-40B4-BE49-F238E27FC236}">
                    <a16:creationId xmlns:a16="http://schemas.microsoft.com/office/drawing/2014/main" xmlns="" id="{73D0C53B-EFF6-FCB2-4B8E-F6CD22574B7E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8500083" y="1044583"/>
                <a:ext cx="226370" cy="243814"/>
              </a:xfrm>
              <a:prstGeom prst="rect">
                <a:avLst/>
              </a:prstGeom>
            </p:spPr>
          </p:pic>
          <p:pic>
            <p:nvPicPr>
              <p:cNvPr id="22" name="object 21">
                <a:extLst>
                  <a:ext uri="{FF2B5EF4-FFF2-40B4-BE49-F238E27FC236}">
                    <a16:creationId xmlns:a16="http://schemas.microsoft.com/office/drawing/2014/main" xmlns="" id="{962C392A-7EEE-B259-10C7-A7258C8A71BB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7516270" y="1044411"/>
                <a:ext cx="196203" cy="243982"/>
              </a:xfrm>
              <a:prstGeom prst="rect">
                <a:avLst/>
              </a:prstGeom>
            </p:spPr>
          </p:pic>
          <p:sp>
            <p:nvSpPr>
              <p:cNvPr id="23" name="object 22">
                <a:extLst>
                  <a:ext uri="{FF2B5EF4-FFF2-40B4-BE49-F238E27FC236}">
                    <a16:creationId xmlns:a16="http://schemas.microsoft.com/office/drawing/2014/main" xmlns="" id="{5955F486-CDE6-59CF-4AEF-719CBB87F72D}"/>
                  </a:ext>
                </a:extLst>
              </p:cNvPr>
              <p:cNvSpPr/>
              <p:nvPr/>
            </p:nvSpPr>
            <p:spPr>
              <a:xfrm>
                <a:off x="17749108" y="948417"/>
                <a:ext cx="226695" cy="340360"/>
              </a:xfrm>
              <a:custGeom>
                <a:avLst/>
                <a:gdLst/>
                <a:ahLst/>
                <a:cxnLst/>
                <a:rect l="l" t="t" r="r" b="b"/>
                <a:pathLst>
                  <a:path w="226694" h="340359">
                    <a:moveTo>
                      <a:pt x="47569" y="0"/>
                    </a:moveTo>
                    <a:lnTo>
                      <a:pt x="0" y="0"/>
                    </a:lnTo>
                    <a:lnTo>
                      <a:pt x="27" y="218286"/>
                    </a:lnTo>
                    <a:lnTo>
                      <a:pt x="6901" y="271407"/>
                    </a:lnTo>
                    <a:lnTo>
                      <a:pt x="28029" y="309502"/>
                    </a:lnTo>
                    <a:lnTo>
                      <a:pt x="63385" y="332359"/>
                    </a:lnTo>
                    <a:lnTo>
                      <a:pt x="112970" y="339979"/>
                    </a:lnTo>
                    <a:lnTo>
                      <a:pt x="162603" y="332359"/>
                    </a:lnTo>
                    <a:lnTo>
                      <a:pt x="198020" y="309556"/>
                    </a:lnTo>
                    <a:lnTo>
                      <a:pt x="207413" y="292755"/>
                    </a:lnTo>
                    <a:lnTo>
                      <a:pt x="112970" y="292755"/>
                    </a:lnTo>
                    <a:lnTo>
                      <a:pt x="95406" y="291446"/>
                    </a:lnTo>
                    <a:lnTo>
                      <a:pt x="59914" y="271813"/>
                    </a:lnTo>
                    <a:lnTo>
                      <a:pt x="48340" y="235484"/>
                    </a:lnTo>
                    <a:lnTo>
                      <a:pt x="47569" y="218286"/>
                    </a:lnTo>
                    <a:lnTo>
                      <a:pt x="47569" y="143524"/>
                    </a:lnTo>
                    <a:lnTo>
                      <a:pt x="207416" y="143524"/>
                    </a:lnTo>
                    <a:lnTo>
                      <a:pt x="198043" y="126696"/>
                    </a:lnTo>
                    <a:lnTo>
                      <a:pt x="162600" y="103797"/>
                    </a:lnTo>
                    <a:lnTo>
                      <a:pt x="112970" y="96164"/>
                    </a:lnTo>
                    <a:lnTo>
                      <a:pt x="47569" y="96164"/>
                    </a:lnTo>
                    <a:lnTo>
                      <a:pt x="47569" y="0"/>
                    </a:lnTo>
                    <a:close/>
                  </a:path>
                  <a:path w="226694" h="340359">
                    <a:moveTo>
                      <a:pt x="207416" y="143524"/>
                    </a:moveTo>
                    <a:lnTo>
                      <a:pt x="112970" y="143524"/>
                    </a:lnTo>
                    <a:lnTo>
                      <a:pt x="130531" y="144839"/>
                    </a:lnTo>
                    <a:lnTo>
                      <a:pt x="145300" y="148738"/>
                    </a:lnTo>
                    <a:lnTo>
                      <a:pt x="175714" y="186104"/>
                    </a:lnTo>
                    <a:lnTo>
                      <a:pt x="178800" y="218286"/>
                    </a:lnTo>
                    <a:lnTo>
                      <a:pt x="177913" y="235496"/>
                    </a:lnTo>
                    <a:lnTo>
                      <a:pt x="166330" y="271813"/>
                    </a:lnTo>
                    <a:lnTo>
                      <a:pt x="130553" y="291446"/>
                    </a:lnTo>
                    <a:lnTo>
                      <a:pt x="112970" y="292755"/>
                    </a:lnTo>
                    <a:lnTo>
                      <a:pt x="207413" y="292755"/>
                    </a:lnTo>
                    <a:lnTo>
                      <a:pt x="219282" y="271527"/>
                    </a:lnTo>
                    <a:lnTo>
                      <a:pt x="226370" y="218286"/>
                    </a:lnTo>
                    <a:lnTo>
                      <a:pt x="219300" y="164859"/>
                    </a:lnTo>
                    <a:lnTo>
                      <a:pt x="207416" y="14352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4" name="object 23">
                <a:extLst>
                  <a:ext uri="{FF2B5EF4-FFF2-40B4-BE49-F238E27FC236}">
                    <a16:creationId xmlns:a16="http://schemas.microsoft.com/office/drawing/2014/main" xmlns="" id="{92B78E7D-0AA3-2FAE-7427-11B81F5F3347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17999732" y="1044581"/>
                <a:ext cx="465118" cy="243820"/>
              </a:xfrm>
              <a:prstGeom prst="rect">
                <a:avLst/>
              </a:prstGeom>
            </p:spPr>
          </p:pic>
          <p:pic>
            <p:nvPicPr>
              <p:cNvPr id="25" name="object 24">
                <a:extLst>
                  <a:ext uri="{FF2B5EF4-FFF2-40B4-BE49-F238E27FC236}">
                    <a16:creationId xmlns:a16="http://schemas.microsoft.com/office/drawing/2014/main" xmlns="" id="{734ED80A-4350-711C-4674-022801513F4B}"/>
                  </a:ext>
                </a:extLst>
              </p:cNvPr>
              <p:cNvPicPr/>
              <p:nvPr/>
            </p:nvPicPr>
            <p:blipFill>
              <a:blip r:embed="rId16" cstate="print"/>
              <a:stretch>
                <a:fillRect/>
              </a:stretch>
            </p:blipFill>
            <p:spPr>
              <a:xfrm>
                <a:off x="16703765" y="1402267"/>
                <a:ext cx="246201" cy="201941"/>
              </a:xfrm>
              <a:prstGeom prst="rect">
                <a:avLst/>
              </a:prstGeom>
            </p:spPr>
          </p:pic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7" r:id="rId3"/>
    <p:sldLayoutId id="2147483668" r:id="rId4"/>
    <p:sldLayoutId id="2147483669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2.jpg"/><Relationship Id="rId4" Type="http://schemas.openxmlformats.org/officeDocument/2006/relationships/notesSlide" Target="../notesSlides/notesSlide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2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7.sv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3DEAE60C-591C-4E26-9CE0-3C32C8459A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506" b="15536"/>
          <a:stretch/>
        </p:blipFill>
        <p:spPr>
          <a:xfrm>
            <a:off x="1" y="-1017373"/>
            <a:ext cx="20104102" cy="12326326"/>
          </a:xfrm>
          <a:prstGeom prst="rect">
            <a:avLst/>
          </a:prstGeom>
        </p:spPr>
      </p:pic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96F3C41E-CF4B-4BE5-A020-E7397F876C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Slide do think-cell" r:id="rId6" imgW="348" imgH="346" progId="TCLayout.ActiveDocument.1">
                  <p:embed/>
                </p:oleObj>
              </mc:Choice>
              <mc:Fallback>
                <p:oleObj name="Slide do think-cell" r:id="rId6" imgW="348" imgH="34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96F3C41E-CF4B-4BE5-A020-E7397F876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Elipse 17">
            <a:extLst>
              <a:ext uri="{FF2B5EF4-FFF2-40B4-BE49-F238E27FC236}">
                <a16:creationId xmlns:a16="http://schemas.microsoft.com/office/drawing/2014/main" xmlns="" id="{A680E88F-DC17-4DD3-933F-BBC30AFA43B5}"/>
              </a:ext>
            </a:extLst>
          </p:cNvPr>
          <p:cNvSpPr/>
          <p:nvPr/>
        </p:nvSpPr>
        <p:spPr>
          <a:xfrm>
            <a:off x="16519909" y="5754963"/>
            <a:ext cx="152301" cy="152301"/>
          </a:xfrm>
          <a:prstGeom prst="ellipse">
            <a:avLst/>
          </a:prstGeom>
          <a:solidFill>
            <a:srgbClr val="FFE4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defRPr/>
            </a:pPr>
            <a:endParaRPr lang="en-US" sz="2968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xmlns="" id="{76DFE8DC-7096-0578-CAF5-CFA9FD8C54C6}"/>
              </a:ext>
            </a:extLst>
          </p:cNvPr>
          <p:cNvSpPr/>
          <p:nvPr/>
        </p:nvSpPr>
        <p:spPr>
          <a:xfrm>
            <a:off x="-15532" y="0"/>
            <a:ext cx="20183217" cy="11308556"/>
          </a:xfrm>
          <a:prstGeom prst="rect">
            <a:avLst/>
          </a:prstGeom>
          <a:solidFill>
            <a:schemeClr val="bg1">
              <a:lumMod val="9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968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xmlns="" id="{7883D559-BE0A-477E-A9F2-7767F2E5F1A9}"/>
              </a:ext>
            </a:extLst>
          </p:cNvPr>
          <p:cNvSpPr txBox="1"/>
          <p:nvPr/>
        </p:nvSpPr>
        <p:spPr>
          <a:xfrm>
            <a:off x="11442055" y="3234250"/>
            <a:ext cx="8587764" cy="634949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507846">
              <a:lnSpc>
                <a:spcPct val="70000"/>
              </a:lnSpc>
              <a:defRPr/>
            </a:pPr>
            <a:r>
              <a:rPr lang="en-US" sz="8905" b="1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Segoe UI Black" panose="020B0A02040204020203" pitchFamily="34" charset="0"/>
              </a:rPr>
              <a:t>REFORMA TRIBUTÁRIA E SANEAMENTO</a:t>
            </a:r>
          </a:p>
          <a:p>
            <a:pPr defTabSz="1507846">
              <a:lnSpc>
                <a:spcPct val="70000"/>
              </a:lnSpc>
              <a:defRPr/>
            </a:pPr>
            <a:endParaRPr lang="en-US" sz="8905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Segoe UI Black" panose="020B0A02040204020203" pitchFamily="34" charset="0"/>
            </a:endParaRPr>
          </a:p>
          <a:p>
            <a:pPr defTabSz="1507846">
              <a:lnSpc>
                <a:spcPct val="70000"/>
              </a:lnSpc>
              <a:defRPr/>
            </a:pPr>
            <a:r>
              <a:rPr lang="pt-BR" sz="40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Audiência Pública</a:t>
            </a:r>
          </a:p>
          <a:p>
            <a:pPr defTabSz="1507846">
              <a:lnSpc>
                <a:spcPct val="70000"/>
              </a:lnSpc>
              <a:defRPr/>
            </a:pPr>
            <a:r>
              <a:rPr lang="pt-BR" sz="40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Comissão de Constituição, Justiça e Cidadania</a:t>
            </a:r>
          </a:p>
          <a:p>
            <a:pPr defTabSz="1507846">
              <a:lnSpc>
                <a:spcPct val="70000"/>
              </a:lnSpc>
              <a:defRPr/>
            </a:pPr>
            <a:endParaRPr lang="pt-BR" sz="4000" i="1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defTabSz="1507846">
              <a:lnSpc>
                <a:spcPct val="70000"/>
              </a:lnSpc>
              <a:defRPr/>
            </a:pPr>
            <a:endParaRPr lang="pt-BR" sz="3200" i="1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defTabSz="1507846">
              <a:lnSpc>
                <a:spcPct val="70000"/>
              </a:lnSpc>
              <a:defRPr/>
            </a:pPr>
            <a:r>
              <a:rPr lang="pt-BR" sz="3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Brasília, 19 de setembro de 2023.</a:t>
            </a:r>
            <a:endParaRPr lang="en-US" sz="8905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Segoe UI Black" panose="020B0A02040204020203" pitchFamily="34" charset="0"/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xmlns="" id="{D4F07B81-E903-BC68-C5EF-EBD228EB2CD5}"/>
              </a:ext>
            </a:extLst>
          </p:cNvPr>
          <p:cNvGrpSpPr>
            <a:grpSpLocks noChangeAspect="1"/>
          </p:cNvGrpSpPr>
          <p:nvPr/>
        </p:nvGrpSpPr>
        <p:grpSpPr>
          <a:xfrm>
            <a:off x="11442054" y="9821731"/>
            <a:ext cx="4574624" cy="624419"/>
            <a:chOff x="5516224" y="1909393"/>
            <a:chExt cx="9071676" cy="1238250"/>
          </a:xfrm>
        </p:grpSpPr>
        <p:sp>
          <p:nvSpPr>
            <p:cNvPr id="15" name="object 12">
              <a:extLst>
                <a:ext uri="{FF2B5EF4-FFF2-40B4-BE49-F238E27FC236}">
                  <a16:creationId xmlns:a16="http://schemas.microsoft.com/office/drawing/2014/main" xmlns="" id="{1EA1BD2D-8D6D-A7AD-EE0A-525154ADA90D}"/>
                </a:ext>
              </a:extLst>
            </p:cNvPr>
            <p:cNvSpPr/>
            <p:nvPr/>
          </p:nvSpPr>
          <p:spPr>
            <a:xfrm>
              <a:off x="10429477" y="2332130"/>
              <a:ext cx="521970" cy="652780"/>
            </a:xfrm>
            <a:custGeom>
              <a:avLst/>
              <a:gdLst/>
              <a:ahLst/>
              <a:cxnLst/>
              <a:rect l="l" t="t" r="r" b="b"/>
              <a:pathLst>
                <a:path w="521970" h="652780">
                  <a:moveTo>
                    <a:pt x="260777" y="0"/>
                  </a:moveTo>
                  <a:lnTo>
                    <a:pt x="199655" y="3042"/>
                  </a:lnTo>
                  <a:lnTo>
                    <a:pt x="146684" y="12168"/>
                  </a:lnTo>
                  <a:lnTo>
                    <a:pt x="101863" y="27379"/>
                  </a:lnTo>
                  <a:lnTo>
                    <a:pt x="65191" y="48673"/>
                  </a:lnTo>
                  <a:lnTo>
                    <a:pt x="36669" y="76052"/>
                  </a:lnTo>
                  <a:lnTo>
                    <a:pt x="16297" y="109516"/>
                  </a:lnTo>
                  <a:lnTo>
                    <a:pt x="4074" y="149063"/>
                  </a:lnTo>
                  <a:lnTo>
                    <a:pt x="0" y="194695"/>
                  </a:lnTo>
                  <a:lnTo>
                    <a:pt x="5797" y="248201"/>
                  </a:lnTo>
                  <a:lnTo>
                    <a:pt x="23190" y="292930"/>
                  </a:lnTo>
                  <a:lnTo>
                    <a:pt x="52178" y="328884"/>
                  </a:lnTo>
                  <a:lnTo>
                    <a:pt x="92761" y="356062"/>
                  </a:lnTo>
                  <a:lnTo>
                    <a:pt x="159991" y="377132"/>
                  </a:lnTo>
                  <a:lnTo>
                    <a:pt x="204859" y="384233"/>
                  </a:lnTo>
                  <a:lnTo>
                    <a:pt x="257227" y="389045"/>
                  </a:lnTo>
                  <a:lnTo>
                    <a:pt x="298284" y="392593"/>
                  </a:lnTo>
                  <a:lnTo>
                    <a:pt x="331267" y="397062"/>
                  </a:lnTo>
                  <a:lnTo>
                    <a:pt x="373014" y="408856"/>
                  </a:lnTo>
                  <a:lnTo>
                    <a:pt x="394888" y="457075"/>
                  </a:lnTo>
                  <a:lnTo>
                    <a:pt x="394560" y="469170"/>
                  </a:lnTo>
                  <a:lnTo>
                    <a:pt x="359575" y="511148"/>
                  </a:lnTo>
                  <a:lnTo>
                    <a:pt x="300995" y="523516"/>
                  </a:lnTo>
                  <a:lnTo>
                    <a:pt x="260777" y="525104"/>
                  </a:lnTo>
                  <a:lnTo>
                    <a:pt x="220569" y="523586"/>
                  </a:lnTo>
                  <a:lnTo>
                    <a:pt x="162105" y="511107"/>
                  </a:lnTo>
                  <a:lnTo>
                    <a:pt x="130121" y="480342"/>
                  </a:lnTo>
                  <a:lnTo>
                    <a:pt x="126666" y="456499"/>
                  </a:lnTo>
                  <a:lnTo>
                    <a:pt x="0" y="456499"/>
                  </a:lnTo>
                  <a:lnTo>
                    <a:pt x="4045" y="502399"/>
                  </a:lnTo>
                  <a:lnTo>
                    <a:pt x="16244" y="542180"/>
                  </a:lnTo>
                  <a:lnTo>
                    <a:pt x="36596" y="575842"/>
                  </a:lnTo>
                  <a:lnTo>
                    <a:pt x="65102" y="603383"/>
                  </a:lnTo>
                  <a:lnTo>
                    <a:pt x="101762" y="624804"/>
                  </a:lnTo>
                  <a:lnTo>
                    <a:pt x="146575" y="640105"/>
                  </a:lnTo>
                  <a:lnTo>
                    <a:pt x="199542" y="649286"/>
                  </a:lnTo>
                  <a:lnTo>
                    <a:pt x="260662" y="652346"/>
                  </a:lnTo>
                  <a:lnTo>
                    <a:pt x="321783" y="649304"/>
                  </a:lnTo>
                  <a:lnTo>
                    <a:pt x="374755" y="640178"/>
                  </a:lnTo>
                  <a:lnTo>
                    <a:pt x="419576" y="624967"/>
                  </a:lnTo>
                  <a:lnTo>
                    <a:pt x="456247" y="603672"/>
                  </a:lnTo>
                  <a:lnTo>
                    <a:pt x="484769" y="576293"/>
                  </a:lnTo>
                  <a:lnTo>
                    <a:pt x="505142" y="542830"/>
                  </a:lnTo>
                  <a:lnTo>
                    <a:pt x="517365" y="503282"/>
                  </a:lnTo>
                  <a:lnTo>
                    <a:pt x="521439" y="457650"/>
                  </a:lnTo>
                  <a:lnTo>
                    <a:pt x="515714" y="404494"/>
                  </a:lnTo>
                  <a:lnTo>
                    <a:pt x="498537" y="359900"/>
                  </a:lnTo>
                  <a:lnTo>
                    <a:pt x="469906" y="323865"/>
                  </a:lnTo>
                  <a:lnTo>
                    <a:pt x="429819" y="296388"/>
                  </a:lnTo>
                  <a:lnTo>
                    <a:pt x="361873" y="275263"/>
                  </a:lnTo>
                  <a:lnTo>
                    <a:pt x="317146" y="268176"/>
                  </a:lnTo>
                  <a:lnTo>
                    <a:pt x="265248" y="263405"/>
                  </a:lnTo>
                  <a:lnTo>
                    <a:pt x="224108" y="259864"/>
                  </a:lnTo>
                  <a:lnTo>
                    <a:pt x="191271" y="255578"/>
                  </a:lnTo>
                  <a:lnTo>
                    <a:pt x="150717" y="244736"/>
                  </a:lnTo>
                  <a:lnTo>
                    <a:pt x="128395" y="212271"/>
                  </a:lnTo>
                  <a:lnTo>
                    <a:pt x="126896" y="195261"/>
                  </a:lnTo>
                  <a:lnTo>
                    <a:pt x="127260" y="183170"/>
                  </a:lnTo>
                  <a:lnTo>
                    <a:pt x="162331" y="141217"/>
                  </a:lnTo>
                  <a:lnTo>
                    <a:pt x="220799" y="128786"/>
                  </a:lnTo>
                  <a:lnTo>
                    <a:pt x="261007" y="127231"/>
                  </a:lnTo>
                  <a:lnTo>
                    <a:pt x="301211" y="128727"/>
                  </a:lnTo>
                  <a:lnTo>
                    <a:pt x="359677" y="140695"/>
                  </a:lnTo>
                  <a:lnTo>
                    <a:pt x="391543" y="170629"/>
                  </a:lnTo>
                  <a:lnTo>
                    <a:pt x="395003" y="194119"/>
                  </a:lnTo>
                  <a:lnTo>
                    <a:pt x="521785" y="194119"/>
                  </a:lnTo>
                  <a:lnTo>
                    <a:pt x="517655" y="148620"/>
                  </a:lnTo>
                  <a:lnTo>
                    <a:pt x="505383" y="109189"/>
                  </a:lnTo>
                  <a:lnTo>
                    <a:pt x="484970" y="75824"/>
                  </a:lnTo>
                  <a:lnTo>
                    <a:pt x="456415" y="48527"/>
                  </a:lnTo>
                  <a:lnTo>
                    <a:pt x="419718" y="27296"/>
                  </a:lnTo>
                  <a:lnTo>
                    <a:pt x="374879" y="12131"/>
                  </a:lnTo>
                  <a:lnTo>
                    <a:pt x="321899" y="3032"/>
                  </a:lnTo>
                  <a:lnTo>
                    <a:pt x="260777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6" name="object 13">
              <a:extLst>
                <a:ext uri="{FF2B5EF4-FFF2-40B4-BE49-F238E27FC236}">
                  <a16:creationId xmlns:a16="http://schemas.microsoft.com/office/drawing/2014/main" xmlns="" id="{B3E2482F-E07E-BD81-30FC-B0AD5D937741}"/>
                </a:ext>
              </a:extLst>
            </p:cNvPr>
            <p:cNvSpPr/>
            <p:nvPr/>
          </p:nvSpPr>
          <p:spPr>
            <a:xfrm>
              <a:off x="11034187" y="2076617"/>
              <a:ext cx="127000" cy="126364"/>
            </a:xfrm>
            <a:custGeom>
              <a:avLst/>
              <a:gdLst/>
              <a:ahLst/>
              <a:cxnLst/>
              <a:rect l="l" t="t" r="r" b="b"/>
              <a:pathLst>
                <a:path w="127000" h="126364">
                  <a:moveTo>
                    <a:pt x="126666" y="0"/>
                  </a:moveTo>
                  <a:lnTo>
                    <a:pt x="0" y="0"/>
                  </a:lnTo>
                  <a:lnTo>
                    <a:pt x="0" y="125975"/>
                  </a:lnTo>
                  <a:lnTo>
                    <a:pt x="126666" y="125975"/>
                  </a:lnTo>
                  <a:lnTo>
                    <a:pt x="12666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7" name="object 14">
              <a:extLst>
                <a:ext uri="{FF2B5EF4-FFF2-40B4-BE49-F238E27FC236}">
                  <a16:creationId xmlns:a16="http://schemas.microsoft.com/office/drawing/2014/main" xmlns="" id="{CC36AE7C-9DEB-60A0-B831-49B82A8D1253}"/>
                </a:ext>
              </a:extLst>
            </p:cNvPr>
            <p:cNvSpPr/>
            <p:nvPr/>
          </p:nvSpPr>
          <p:spPr>
            <a:xfrm>
              <a:off x="11034176" y="2332578"/>
              <a:ext cx="127000" cy="650240"/>
            </a:xfrm>
            <a:custGeom>
              <a:avLst/>
              <a:gdLst/>
              <a:ahLst/>
              <a:cxnLst/>
              <a:rect l="l" t="t" r="r" b="b"/>
              <a:pathLst>
                <a:path w="127000" h="650239">
                  <a:moveTo>
                    <a:pt x="126666" y="0"/>
                  </a:moveTo>
                  <a:lnTo>
                    <a:pt x="0" y="0"/>
                  </a:lnTo>
                  <a:lnTo>
                    <a:pt x="0" y="649718"/>
                  </a:lnTo>
                  <a:lnTo>
                    <a:pt x="126666" y="649718"/>
                  </a:lnTo>
                  <a:lnTo>
                    <a:pt x="12666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9" name="object 15">
              <a:extLst>
                <a:ext uri="{FF2B5EF4-FFF2-40B4-BE49-F238E27FC236}">
                  <a16:creationId xmlns:a16="http://schemas.microsoft.com/office/drawing/2014/main" xmlns="" id="{1D75D3BD-AD9F-3E6E-4F03-8E026E62D4BE}"/>
                </a:ext>
              </a:extLst>
            </p:cNvPr>
            <p:cNvSpPr/>
            <p:nvPr/>
          </p:nvSpPr>
          <p:spPr>
            <a:xfrm>
              <a:off x="11259572" y="2332580"/>
              <a:ext cx="603885" cy="650240"/>
            </a:xfrm>
            <a:custGeom>
              <a:avLst/>
              <a:gdLst/>
              <a:ahLst/>
              <a:cxnLst/>
              <a:rect l="l" t="t" r="r" b="b"/>
              <a:pathLst>
                <a:path w="603884" h="650239">
                  <a:moveTo>
                    <a:pt x="302242" y="0"/>
                  </a:moveTo>
                  <a:lnTo>
                    <a:pt x="249787" y="2690"/>
                  </a:lnTo>
                  <a:lnTo>
                    <a:pt x="202328" y="10760"/>
                  </a:lnTo>
                  <a:lnTo>
                    <a:pt x="159865" y="24210"/>
                  </a:lnTo>
                  <a:lnTo>
                    <a:pt x="122397" y="43040"/>
                  </a:lnTo>
                  <a:lnTo>
                    <a:pt x="89924" y="67250"/>
                  </a:lnTo>
                  <a:lnTo>
                    <a:pt x="62447" y="96840"/>
                  </a:lnTo>
                  <a:lnTo>
                    <a:pt x="39966" y="131810"/>
                  </a:lnTo>
                  <a:lnTo>
                    <a:pt x="22481" y="172160"/>
                  </a:lnTo>
                  <a:lnTo>
                    <a:pt x="9991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0" y="649718"/>
                  </a:lnTo>
                  <a:lnTo>
                    <a:pt x="126781" y="649718"/>
                  </a:lnTo>
                  <a:lnTo>
                    <a:pt x="126781" y="325487"/>
                  </a:lnTo>
                  <a:lnTo>
                    <a:pt x="128842" y="279241"/>
                  </a:lnTo>
                  <a:lnTo>
                    <a:pt x="135027" y="239910"/>
                  </a:lnTo>
                  <a:lnTo>
                    <a:pt x="159764" y="181983"/>
                  </a:lnTo>
                  <a:lnTo>
                    <a:pt x="215999" y="140584"/>
                  </a:lnTo>
                  <a:lnTo>
                    <a:pt x="255370" y="130232"/>
                  </a:lnTo>
                  <a:lnTo>
                    <a:pt x="302242" y="126781"/>
                  </a:lnTo>
                  <a:lnTo>
                    <a:pt x="349047" y="130195"/>
                  </a:lnTo>
                  <a:lnTo>
                    <a:pt x="388221" y="140439"/>
                  </a:lnTo>
                  <a:lnTo>
                    <a:pt x="443682" y="181418"/>
                  </a:lnTo>
                  <a:lnTo>
                    <a:pt x="468335" y="239281"/>
                  </a:lnTo>
                  <a:lnTo>
                    <a:pt x="474497" y="278629"/>
                  </a:lnTo>
                  <a:lnTo>
                    <a:pt x="476550" y="324922"/>
                  </a:lnTo>
                  <a:lnTo>
                    <a:pt x="476550" y="649718"/>
                  </a:lnTo>
                  <a:lnTo>
                    <a:pt x="603332" y="649718"/>
                  </a:lnTo>
                  <a:lnTo>
                    <a:pt x="603332" y="325487"/>
                  </a:lnTo>
                  <a:lnTo>
                    <a:pt x="601033" y="268998"/>
                  </a:lnTo>
                  <a:lnTo>
                    <a:pt x="593720" y="217889"/>
                  </a:lnTo>
                  <a:lnTo>
                    <a:pt x="581392" y="172160"/>
                  </a:lnTo>
                  <a:lnTo>
                    <a:pt x="564049" y="131810"/>
                  </a:lnTo>
                  <a:lnTo>
                    <a:pt x="541692" y="96840"/>
                  </a:lnTo>
                  <a:lnTo>
                    <a:pt x="514320" y="67250"/>
                  </a:lnTo>
                  <a:lnTo>
                    <a:pt x="481933" y="43040"/>
                  </a:lnTo>
                  <a:lnTo>
                    <a:pt x="444532" y="24210"/>
                  </a:lnTo>
                  <a:lnTo>
                    <a:pt x="402117" y="10760"/>
                  </a:lnTo>
                  <a:lnTo>
                    <a:pt x="354686" y="2690"/>
                  </a:lnTo>
                  <a:lnTo>
                    <a:pt x="302242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1" name="object 16">
              <a:extLst>
                <a:ext uri="{FF2B5EF4-FFF2-40B4-BE49-F238E27FC236}">
                  <a16:creationId xmlns:a16="http://schemas.microsoft.com/office/drawing/2014/main" xmlns="" id="{B4F7DB83-052E-DFF7-6EC6-0C24DBD557C1}"/>
                </a:ext>
              </a:extLst>
            </p:cNvPr>
            <p:cNvSpPr/>
            <p:nvPr/>
          </p:nvSpPr>
          <p:spPr>
            <a:xfrm>
              <a:off x="11952696" y="2076384"/>
              <a:ext cx="603885" cy="907415"/>
            </a:xfrm>
            <a:custGeom>
              <a:avLst/>
              <a:gdLst/>
              <a:ahLst/>
              <a:cxnLst/>
              <a:rect l="l" t="t" r="r" b="b"/>
              <a:pathLst>
                <a:path w="603884" h="907414">
                  <a:moveTo>
                    <a:pt x="603562" y="0"/>
                  </a:moveTo>
                  <a:lnTo>
                    <a:pt x="476550" y="0"/>
                  </a:lnTo>
                  <a:lnTo>
                    <a:pt x="476550" y="256201"/>
                  </a:lnTo>
                  <a:lnTo>
                    <a:pt x="302242" y="256201"/>
                  </a:lnTo>
                  <a:lnTo>
                    <a:pt x="249787" y="258904"/>
                  </a:lnTo>
                  <a:lnTo>
                    <a:pt x="202328" y="266974"/>
                  </a:lnTo>
                  <a:lnTo>
                    <a:pt x="159865" y="280411"/>
                  </a:lnTo>
                  <a:lnTo>
                    <a:pt x="122397" y="299215"/>
                  </a:lnTo>
                  <a:lnTo>
                    <a:pt x="89924" y="323385"/>
                  </a:lnTo>
                  <a:lnTo>
                    <a:pt x="62447" y="352922"/>
                  </a:lnTo>
                  <a:lnTo>
                    <a:pt x="39966" y="387826"/>
                  </a:lnTo>
                  <a:lnTo>
                    <a:pt x="22481" y="428097"/>
                  </a:lnTo>
                  <a:lnTo>
                    <a:pt x="9991" y="473735"/>
                  </a:lnTo>
                  <a:lnTo>
                    <a:pt x="2497" y="524740"/>
                  </a:lnTo>
                  <a:lnTo>
                    <a:pt x="0" y="581113"/>
                  </a:lnTo>
                  <a:lnTo>
                    <a:pt x="2765" y="637720"/>
                  </a:lnTo>
                  <a:lnTo>
                    <a:pt x="10479" y="688935"/>
                  </a:lnTo>
                  <a:lnTo>
                    <a:pt x="23142" y="734756"/>
                  </a:lnTo>
                  <a:lnTo>
                    <a:pt x="40753" y="775185"/>
                  </a:lnTo>
                  <a:lnTo>
                    <a:pt x="63312" y="810220"/>
                  </a:lnTo>
                  <a:lnTo>
                    <a:pt x="90820" y="839862"/>
                  </a:lnTo>
                  <a:lnTo>
                    <a:pt x="123275" y="864111"/>
                  </a:lnTo>
                  <a:lnTo>
                    <a:pt x="160679" y="882967"/>
                  </a:lnTo>
                  <a:lnTo>
                    <a:pt x="203030" y="896430"/>
                  </a:lnTo>
                  <a:lnTo>
                    <a:pt x="250330" y="904500"/>
                  </a:lnTo>
                  <a:lnTo>
                    <a:pt x="302577" y="907176"/>
                  </a:lnTo>
                  <a:lnTo>
                    <a:pt x="354813" y="904461"/>
                  </a:lnTo>
                  <a:lnTo>
                    <a:pt x="402075" y="896361"/>
                  </a:lnTo>
                  <a:lnTo>
                    <a:pt x="444362" y="882875"/>
                  </a:lnTo>
                  <a:lnTo>
                    <a:pt x="481674" y="864005"/>
                  </a:lnTo>
                  <a:lnTo>
                    <a:pt x="514011" y="839749"/>
                  </a:lnTo>
                  <a:lnTo>
                    <a:pt x="541374" y="810107"/>
                  </a:lnTo>
                  <a:lnTo>
                    <a:pt x="559709" y="781421"/>
                  </a:lnTo>
                  <a:lnTo>
                    <a:pt x="302577" y="781421"/>
                  </a:lnTo>
                  <a:lnTo>
                    <a:pt x="255825" y="777991"/>
                  </a:lnTo>
                  <a:lnTo>
                    <a:pt x="216687" y="767590"/>
                  </a:lnTo>
                  <a:lnTo>
                    <a:pt x="161251" y="725873"/>
                  </a:lnTo>
                  <a:lnTo>
                    <a:pt x="136658" y="667665"/>
                  </a:lnTo>
                  <a:lnTo>
                    <a:pt x="130479" y="628148"/>
                  </a:lnTo>
                  <a:lnTo>
                    <a:pt x="128383" y="581689"/>
                  </a:lnTo>
                  <a:lnTo>
                    <a:pt x="130396" y="535209"/>
                  </a:lnTo>
                  <a:lnTo>
                    <a:pt x="136544" y="495647"/>
                  </a:lnTo>
                  <a:lnTo>
                    <a:pt x="161251" y="437264"/>
                  </a:lnTo>
                  <a:lnTo>
                    <a:pt x="216687" y="396553"/>
                  </a:lnTo>
                  <a:lnTo>
                    <a:pt x="255825" y="386375"/>
                  </a:lnTo>
                  <a:lnTo>
                    <a:pt x="302577" y="382983"/>
                  </a:lnTo>
                  <a:lnTo>
                    <a:pt x="603562" y="382983"/>
                  </a:lnTo>
                  <a:lnTo>
                    <a:pt x="603562" y="0"/>
                  </a:lnTo>
                  <a:close/>
                </a:path>
                <a:path w="603884" h="907414">
                  <a:moveTo>
                    <a:pt x="603562" y="382983"/>
                  </a:moveTo>
                  <a:lnTo>
                    <a:pt x="476896" y="382983"/>
                  </a:lnTo>
                  <a:lnTo>
                    <a:pt x="476870" y="581689"/>
                  </a:lnTo>
                  <a:lnTo>
                    <a:pt x="474835" y="627525"/>
                  </a:lnTo>
                  <a:lnTo>
                    <a:pt x="468650" y="667122"/>
                  </a:lnTo>
                  <a:lnTo>
                    <a:pt x="443913" y="725873"/>
                  </a:lnTo>
                  <a:lnTo>
                    <a:pt x="388476" y="767480"/>
                  </a:lnTo>
                  <a:lnTo>
                    <a:pt x="349335" y="777908"/>
                  </a:lnTo>
                  <a:lnTo>
                    <a:pt x="302577" y="781421"/>
                  </a:lnTo>
                  <a:lnTo>
                    <a:pt x="559709" y="781421"/>
                  </a:lnTo>
                  <a:lnTo>
                    <a:pt x="581174" y="734667"/>
                  </a:lnTo>
                  <a:lnTo>
                    <a:pt x="593612" y="688869"/>
                  </a:lnTo>
                  <a:lnTo>
                    <a:pt x="601075" y="637684"/>
                  </a:lnTo>
                  <a:lnTo>
                    <a:pt x="603537" y="581689"/>
                  </a:lnTo>
                  <a:lnTo>
                    <a:pt x="603562" y="382983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xmlns="" id="{C195ADB3-7FAC-14B4-CC52-A4B518E73D72}"/>
                </a:ext>
              </a:extLst>
            </p:cNvPr>
            <p:cNvSpPr/>
            <p:nvPr/>
          </p:nvSpPr>
          <p:spPr>
            <a:xfrm>
              <a:off x="12651313" y="2332580"/>
              <a:ext cx="588010" cy="650240"/>
            </a:xfrm>
            <a:custGeom>
              <a:avLst/>
              <a:gdLst/>
              <a:ahLst/>
              <a:cxnLst/>
              <a:rect l="l" t="t" r="r" b="b"/>
              <a:pathLst>
                <a:path w="588009" h="650239">
                  <a:moveTo>
                    <a:pt x="301100" y="0"/>
                  </a:moveTo>
                  <a:lnTo>
                    <a:pt x="248842" y="2471"/>
                  </a:lnTo>
                  <a:lnTo>
                    <a:pt x="201562" y="10344"/>
                  </a:lnTo>
                  <a:lnTo>
                    <a:pt x="159258" y="23618"/>
                  </a:lnTo>
                  <a:lnTo>
                    <a:pt x="121931" y="42292"/>
                  </a:lnTo>
                  <a:lnTo>
                    <a:pt x="89582" y="66367"/>
                  </a:lnTo>
                  <a:lnTo>
                    <a:pt x="62209" y="95843"/>
                  </a:lnTo>
                  <a:lnTo>
                    <a:pt x="39814" y="130720"/>
                  </a:lnTo>
                  <a:lnTo>
                    <a:pt x="22395" y="170997"/>
                  </a:lnTo>
                  <a:lnTo>
                    <a:pt x="9953" y="216674"/>
                  </a:lnTo>
                  <a:lnTo>
                    <a:pt x="2488" y="267752"/>
                  </a:lnTo>
                  <a:lnTo>
                    <a:pt x="0" y="324230"/>
                  </a:lnTo>
                  <a:lnTo>
                    <a:pt x="2488" y="380719"/>
                  </a:lnTo>
                  <a:lnTo>
                    <a:pt x="9953" y="431828"/>
                  </a:lnTo>
                  <a:lnTo>
                    <a:pt x="22395" y="477558"/>
                  </a:lnTo>
                  <a:lnTo>
                    <a:pt x="39814" y="517907"/>
                  </a:lnTo>
                  <a:lnTo>
                    <a:pt x="62209" y="552877"/>
                  </a:lnTo>
                  <a:lnTo>
                    <a:pt x="89582" y="582467"/>
                  </a:lnTo>
                  <a:lnTo>
                    <a:pt x="121931" y="606677"/>
                  </a:lnTo>
                  <a:lnTo>
                    <a:pt x="159258" y="625508"/>
                  </a:lnTo>
                  <a:lnTo>
                    <a:pt x="201562" y="638958"/>
                  </a:lnTo>
                  <a:lnTo>
                    <a:pt x="248842" y="647028"/>
                  </a:lnTo>
                  <a:lnTo>
                    <a:pt x="301100" y="649718"/>
                  </a:lnTo>
                  <a:lnTo>
                    <a:pt x="356757" y="646615"/>
                  </a:lnTo>
                  <a:lnTo>
                    <a:pt x="406737" y="637306"/>
                  </a:lnTo>
                  <a:lnTo>
                    <a:pt x="451041" y="621791"/>
                  </a:lnTo>
                  <a:lnTo>
                    <a:pt x="489669" y="600070"/>
                  </a:lnTo>
                  <a:lnTo>
                    <a:pt x="522621" y="572143"/>
                  </a:lnTo>
                  <a:lnTo>
                    <a:pt x="549896" y="538011"/>
                  </a:lnTo>
                  <a:lnTo>
                    <a:pt x="571494" y="497672"/>
                  </a:lnTo>
                  <a:lnTo>
                    <a:pt x="587416" y="451127"/>
                  </a:lnTo>
                  <a:lnTo>
                    <a:pt x="453996" y="451127"/>
                  </a:lnTo>
                  <a:lnTo>
                    <a:pt x="430299" y="482744"/>
                  </a:lnTo>
                  <a:lnTo>
                    <a:pt x="397012" y="505328"/>
                  </a:lnTo>
                  <a:lnTo>
                    <a:pt x="354135" y="518880"/>
                  </a:lnTo>
                  <a:lnTo>
                    <a:pt x="301666" y="523397"/>
                  </a:lnTo>
                  <a:lnTo>
                    <a:pt x="254826" y="519940"/>
                  </a:lnTo>
                  <a:lnTo>
                    <a:pt x="215658" y="509568"/>
                  </a:lnTo>
                  <a:lnTo>
                    <a:pt x="160340" y="468079"/>
                  </a:lnTo>
                  <a:lnTo>
                    <a:pt x="135173" y="410382"/>
                  </a:lnTo>
                  <a:lnTo>
                    <a:pt x="128879" y="371079"/>
                  </a:lnTo>
                  <a:lnTo>
                    <a:pt x="126781" y="324806"/>
                  </a:lnTo>
                  <a:lnTo>
                    <a:pt x="128842" y="278492"/>
                  </a:lnTo>
                  <a:lnTo>
                    <a:pt x="135027" y="239080"/>
                  </a:lnTo>
                  <a:lnTo>
                    <a:pt x="159764" y="180957"/>
                  </a:lnTo>
                  <a:lnTo>
                    <a:pt x="215142" y="140326"/>
                  </a:lnTo>
                  <a:lnTo>
                    <a:pt x="254300" y="130167"/>
                  </a:lnTo>
                  <a:lnTo>
                    <a:pt x="301100" y="126781"/>
                  </a:lnTo>
                  <a:lnTo>
                    <a:pt x="354040" y="131191"/>
                  </a:lnTo>
                  <a:lnTo>
                    <a:pt x="397074" y="144419"/>
                  </a:lnTo>
                  <a:lnTo>
                    <a:pt x="430200" y="166467"/>
                  </a:lnTo>
                  <a:lnTo>
                    <a:pt x="453420" y="197334"/>
                  </a:lnTo>
                  <a:lnTo>
                    <a:pt x="587416" y="197334"/>
                  </a:lnTo>
                  <a:lnTo>
                    <a:pt x="571494" y="151084"/>
                  </a:lnTo>
                  <a:lnTo>
                    <a:pt x="549896" y="111000"/>
                  </a:lnTo>
                  <a:lnTo>
                    <a:pt x="522621" y="77083"/>
                  </a:lnTo>
                  <a:lnTo>
                    <a:pt x="489669" y="49333"/>
                  </a:lnTo>
                  <a:lnTo>
                    <a:pt x="451041" y="27750"/>
                  </a:lnTo>
                  <a:lnTo>
                    <a:pt x="406737" y="12333"/>
                  </a:lnTo>
                  <a:lnTo>
                    <a:pt x="356757" y="3083"/>
                  </a:lnTo>
                  <a:lnTo>
                    <a:pt x="301100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3" name="object 18">
              <a:extLst>
                <a:ext uri="{FF2B5EF4-FFF2-40B4-BE49-F238E27FC236}">
                  <a16:creationId xmlns:a16="http://schemas.microsoft.com/office/drawing/2014/main" xmlns="" id="{D7FDB79F-8750-F523-DC3B-498835CC6920}"/>
                </a:ext>
              </a:extLst>
            </p:cNvPr>
            <p:cNvSpPr/>
            <p:nvPr/>
          </p:nvSpPr>
          <p:spPr>
            <a:xfrm>
              <a:off x="13287519" y="2332583"/>
              <a:ext cx="603250" cy="650240"/>
            </a:xfrm>
            <a:custGeom>
              <a:avLst/>
              <a:gdLst/>
              <a:ahLst/>
              <a:cxnLst/>
              <a:rect l="l" t="t" r="r" b="b"/>
              <a:pathLst>
                <a:path w="603250" h="650239">
                  <a:moveTo>
                    <a:pt x="302242" y="0"/>
                  </a:moveTo>
                  <a:lnTo>
                    <a:pt x="249785" y="2690"/>
                  </a:lnTo>
                  <a:lnTo>
                    <a:pt x="202324" y="10760"/>
                  </a:lnTo>
                  <a:lnTo>
                    <a:pt x="159860" y="24210"/>
                  </a:lnTo>
                  <a:lnTo>
                    <a:pt x="122392" y="43040"/>
                  </a:lnTo>
                  <a:lnTo>
                    <a:pt x="89920" y="67250"/>
                  </a:lnTo>
                  <a:lnTo>
                    <a:pt x="62444" y="96840"/>
                  </a:lnTo>
                  <a:lnTo>
                    <a:pt x="39964" y="131810"/>
                  </a:lnTo>
                  <a:lnTo>
                    <a:pt x="22479" y="172160"/>
                  </a:lnTo>
                  <a:lnTo>
                    <a:pt x="9990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2705" y="381758"/>
                  </a:lnTo>
                  <a:lnTo>
                    <a:pt x="10365" y="432669"/>
                  </a:lnTo>
                  <a:lnTo>
                    <a:pt x="22979" y="478222"/>
                  </a:lnTo>
                  <a:lnTo>
                    <a:pt x="40548" y="518416"/>
                  </a:lnTo>
                  <a:lnTo>
                    <a:pt x="63070" y="553251"/>
                  </a:lnTo>
                  <a:lnTo>
                    <a:pt x="90547" y="582727"/>
                  </a:lnTo>
                  <a:lnTo>
                    <a:pt x="122978" y="606844"/>
                  </a:lnTo>
                  <a:lnTo>
                    <a:pt x="160363" y="625601"/>
                  </a:lnTo>
                  <a:lnTo>
                    <a:pt x="202702" y="638999"/>
                  </a:lnTo>
                  <a:lnTo>
                    <a:pt x="249995" y="647038"/>
                  </a:lnTo>
                  <a:lnTo>
                    <a:pt x="302242" y="649718"/>
                  </a:lnTo>
                  <a:lnTo>
                    <a:pt x="354475" y="647038"/>
                  </a:lnTo>
                  <a:lnTo>
                    <a:pt x="401735" y="638999"/>
                  </a:lnTo>
                  <a:lnTo>
                    <a:pt x="444020" y="625601"/>
                  </a:lnTo>
                  <a:lnTo>
                    <a:pt x="481331" y="606844"/>
                  </a:lnTo>
                  <a:lnTo>
                    <a:pt x="513668" y="582727"/>
                  </a:lnTo>
                  <a:lnTo>
                    <a:pt x="541029" y="553251"/>
                  </a:lnTo>
                  <a:lnTo>
                    <a:pt x="560222" y="523387"/>
                  </a:lnTo>
                  <a:lnTo>
                    <a:pt x="302242" y="523387"/>
                  </a:lnTo>
                  <a:lnTo>
                    <a:pt x="255484" y="520055"/>
                  </a:lnTo>
                  <a:lnTo>
                    <a:pt x="216342" y="509936"/>
                  </a:lnTo>
                  <a:lnTo>
                    <a:pt x="160906" y="469336"/>
                  </a:lnTo>
                  <a:lnTo>
                    <a:pt x="136168" y="411323"/>
                  </a:lnTo>
                  <a:lnTo>
                    <a:pt x="129984" y="371884"/>
                  </a:lnTo>
                  <a:lnTo>
                    <a:pt x="127922" y="325487"/>
                  </a:lnTo>
                  <a:lnTo>
                    <a:pt x="129984" y="279090"/>
                  </a:lnTo>
                  <a:lnTo>
                    <a:pt x="136168" y="239651"/>
                  </a:lnTo>
                  <a:lnTo>
                    <a:pt x="160906" y="181638"/>
                  </a:lnTo>
                  <a:lnTo>
                    <a:pt x="216342" y="140065"/>
                  </a:lnTo>
                  <a:lnTo>
                    <a:pt x="255484" y="129670"/>
                  </a:lnTo>
                  <a:lnTo>
                    <a:pt x="302242" y="126205"/>
                  </a:lnTo>
                  <a:lnTo>
                    <a:pt x="560419" y="126205"/>
                  </a:lnTo>
                  <a:lnTo>
                    <a:pt x="541656" y="96840"/>
                  </a:lnTo>
                  <a:lnTo>
                    <a:pt x="514295" y="67250"/>
                  </a:lnTo>
                  <a:lnTo>
                    <a:pt x="481917" y="43040"/>
                  </a:lnTo>
                  <a:lnTo>
                    <a:pt x="444523" y="24210"/>
                  </a:lnTo>
                  <a:lnTo>
                    <a:pt x="402113" y="10760"/>
                  </a:lnTo>
                  <a:lnTo>
                    <a:pt x="354685" y="2690"/>
                  </a:lnTo>
                  <a:lnTo>
                    <a:pt x="302242" y="0"/>
                  </a:lnTo>
                  <a:close/>
                </a:path>
                <a:path w="603250" h="650239">
                  <a:moveTo>
                    <a:pt x="560419" y="126205"/>
                  </a:moveTo>
                  <a:lnTo>
                    <a:pt x="302242" y="126205"/>
                  </a:lnTo>
                  <a:lnTo>
                    <a:pt x="348993" y="129670"/>
                  </a:lnTo>
                  <a:lnTo>
                    <a:pt x="388132" y="140065"/>
                  </a:lnTo>
                  <a:lnTo>
                    <a:pt x="443567" y="181638"/>
                  </a:lnTo>
                  <a:lnTo>
                    <a:pt x="468305" y="239706"/>
                  </a:lnTo>
                  <a:lnTo>
                    <a:pt x="474489" y="279132"/>
                  </a:lnTo>
                  <a:lnTo>
                    <a:pt x="476550" y="325487"/>
                  </a:lnTo>
                  <a:lnTo>
                    <a:pt x="474489" y="371626"/>
                  </a:lnTo>
                  <a:lnTo>
                    <a:pt x="468305" y="410982"/>
                  </a:lnTo>
                  <a:lnTo>
                    <a:pt x="443567" y="469336"/>
                  </a:lnTo>
                  <a:lnTo>
                    <a:pt x="388132" y="509818"/>
                  </a:lnTo>
                  <a:lnTo>
                    <a:pt x="348993" y="519967"/>
                  </a:lnTo>
                  <a:lnTo>
                    <a:pt x="302242" y="523387"/>
                  </a:lnTo>
                  <a:lnTo>
                    <a:pt x="560222" y="523387"/>
                  </a:lnTo>
                  <a:lnTo>
                    <a:pt x="580829" y="478222"/>
                  </a:lnTo>
                  <a:lnTo>
                    <a:pt x="593267" y="432669"/>
                  </a:lnTo>
                  <a:lnTo>
                    <a:pt x="600729" y="381758"/>
                  </a:lnTo>
                  <a:lnTo>
                    <a:pt x="603217" y="325487"/>
                  </a:lnTo>
                  <a:lnTo>
                    <a:pt x="600937" y="268998"/>
                  </a:lnTo>
                  <a:lnTo>
                    <a:pt x="593641" y="217889"/>
                  </a:lnTo>
                  <a:lnTo>
                    <a:pt x="581329" y="172160"/>
                  </a:lnTo>
                  <a:lnTo>
                    <a:pt x="564001" y="131810"/>
                  </a:lnTo>
                  <a:lnTo>
                    <a:pt x="560419" y="126205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4" name="object 19">
              <a:extLst>
                <a:ext uri="{FF2B5EF4-FFF2-40B4-BE49-F238E27FC236}">
                  <a16:creationId xmlns:a16="http://schemas.microsoft.com/office/drawing/2014/main" xmlns="" id="{7414E1F2-F692-6230-F9DB-D6A224EE16FB}"/>
                </a:ext>
              </a:extLst>
            </p:cNvPr>
            <p:cNvSpPr/>
            <p:nvPr/>
          </p:nvSpPr>
          <p:spPr>
            <a:xfrm>
              <a:off x="13984650" y="2332580"/>
              <a:ext cx="603250" cy="650240"/>
            </a:xfrm>
            <a:custGeom>
              <a:avLst/>
              <a:gdLst/>
              <a:ahLst/>
              <a:cxnLst/>
              <a:rect l="l" t="t" r="r" b="b"/>
              <a:pathLst>
                <a:path w="603250" h="650239">
                  <a:moveTo>
                    <a:pt x="302242" y="0"/>
                  </a:moveTo>
                  <a:lnTo>
                    <a:pt x="249785" y="2690"/>
                  </a:lnTo>
                  <a:lnTo>
                    <a:pt x="202324" y="10760"/>
                  </a:lnTo>
                  <a:lnTo>
                    <a:pt x="159860" y="24210"/>
                  </a:lnTo>
                  <a:lnTo>
                    <a:pt x="122392" y="43040"/>
                  </a:lnTo>
                  <a:lnTo>
                    <a:pt x="89920" y="67250"/>
                  </a:lnTo>
                  <a:lnTo>
                    <a:pt x="62444" y="96840"/>
                  </a:lnTo>
                  <a:lnTo>
                    <a:pt x="39964" y="131810"/>
                  </a:lnTo>
                  <a:lnTo>
                    <a:pt x="22479" y="172160"/>
                  </a:lnTo>
                  <a:lnTo>
                    <a:pt x="9990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0" y="649718"/>
                  </a:lnTo>
                  <a:lnTo>
                    <a:pt x="126666" y="649718"/>
                  </a:lnTo>
                  <a:lnTo>
                    <a:pt x="126666" y="325487"/>
                  </a:lnTo>
                  <a:lnTo>
                    <a:pt x="128727" y="279241"/>
                  </a:lnTo>
                  <a:lnTo>
                    <a:pt x="134912" y="239910"/>
                  </a:lnTo>
                  <a:lnTo>
                    <a:pt x="159649" y="181983"/>
                  </a:lnTo>
                  <a:lnTo>
                    <a:pt x="216028" y="140584"/>
                  </a:lnTo>
                  <a:lnTo>
                    <a:pt x="255405" y="130232"/>
                  </a:lnTo>
                  <a:lnTo>
                    <a:pt x="302242" y="126781"/>
                  </a:lnTo>
                  <a:lnTo>
                    <a:pt x="348980" y="130195"/>
                  </a:lnTo>
                  <a:lnTo>
                    <a:pt x="388075" y="140439"/>
                  </a:lnTo>
                  <a:lnTo>
                    <a:pt x="443337" y="181418"/>
                  </a:lnTo>
                  <a:lnTo>
                    <a:pt x="467989" y="239281"/>
                  </a:lnTo>
                  <a:lnTo>
                    <a:pt x="474151" y="278629"/>
                  </a:lnTo>
                  <a:lnTo>
                    <a:pt x="476205" y="324922"/>
                  </a:lnTo>
                  <a:lnTo>
                    <a:pt x="476205" y="649718"/>
                  </a:lnTo>
                  <a:lnTo>
                    <a:pt x="603217" y="649718"/>
                  </a:lnTo>
                  <a:lnTo>
                    <a:pt x="603217" y="325487"/>
                  </a:lnTo>
                  <a:lnTo>
                    <a:pt x="600937" y="268998"/>
                  </a:lnTo>
                  <a:lnTo>
                    <a:pt x="593641" y="217889"/>
                  </a:lnTo>
                  <a:lnTo>
                    <a:pt x="581329" y="172160"/>
                  </a:lnTo>
                  <a:lnTo>
                    <a:pt x="564001" y="131810"/>
                  </a:lnTo>
                  <a:lnTo>
                    <a:pt x="541656" y="96840"/>
                  </a:lnTo>
                  <a:lnTo>
                    <a:pt x="514295" y="67250"/>
                  </a:lnTo>
                  <a:lnTo>
                    <a:pt x="481917" y="43040"/>
                  </a:lnTo>
                  <a:lnTo>
                    <a:pt x="444523" y="24210"/>
                  </a:lnTo>
                  <a:lnTo>
                    <a:pt x="402113" y="10760"/>
                  </a:lnTo>
                  <a:lnTo>
                    <a:pt x="354685" y="2690"/>
                  </a:lnTo>
                  <a:lnTo>
                    <a:pt x="302242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5" name="object 20">
              <a:extLst>
                <a:ext uri="{FF2B5EF4-FFF2-40B4-BE49-F238E27FC236}">
                  <a16:creationId xmlns:a16="http://schemas.microsoft.com/office/drawing/2014/main" xmlns="" id="{A4BBA795-38BB-CF29-6CD7-0D91E79A6238}"/>
                </a:ext>
              </a:extLst>
            </p:cNvPr>
            <p:cNvSpPr/>
            <p:nvPr/>
          </p:nvSpPr>
          <p:spPr>
            <a:xfrm>
              <a:off x="9591357" y="2333379"/>
              <a:ext cx="609600" cy="655955"/>
            </a:xfrm>
            <a:custGeom>
              <a:avLst/>
              <a:gdLst/>
              <a:ahLst/>
              <a:cxnLst/>
              <a:rect l="l" t="t" r="r" b="b"/>
              <a:pathLst>
                <a:path w="609600" h="655955">
                  <a:moveTo>
                    <a:pt x="305215" y="0"/>
                  </a:moveTo>
                  <a:lnTo>
                    <a:pt x="252243" y="2713"/>
                  </a:lnTo>
                  <a:lnTo>
                    <a:pt x="204316" y="10854"/>
                  </a:lnTo>
                  <a:lnTo>
                    <a:pt x="161434" y="24423"/>
                  </a:lnTo>
                  <a:lnTo>
                    <a:pt x="123598" y="43419"/>
                  </a:lnTo>
                  <a:lnTo>
                    <a:pt x="90806" y="67842"/>
                  </a:lnTo>
                  <a:lnTo>
                    <a:pt x="63059" y="97692"/>
                  </a:lnTo>
                  <a:lnTo>
                    <a:pt x="40358" y="132970"/>
                  </a:lnTo>
                  <a:lnTo>
                    <a:pt x="22701" y="173676"/>
                  </a:lnTo>
                  <a:lnTo>
                    <a:pt x="10089" y="219808"/>
                  </a:lnTo>
                  <a:lnTo>
                    <a:pt x="2522" y="271369"/>
                  </a:lnTo>
                  <a:lnTo>
                    <a:pt x="0" y="328356"/>
                  </a:lnTo>
                  <a:lnTo>
                    <a:pt x="0" y="655791"/>
                  </a:lnTo>
                  <a:lnTo>
                    <a:pt x="128037" y="655791"/>
                  </a:lnTo>
                  <a:lnTo>
                    <a:pt x="128037" y="327665"/>
                  </a:lnTo>
                  <a:lnTo>
                    <a:pt x="130114" y="281061"/>
                  </a:lnTo>
                  <a:lnTo>
                    <a:pt x="136344" y="241455"/>
                  </a:lnTo>
                  <a:lnTo>
                    <a:pt x="161251" y="183250"/>
                  </a:lnTo>
                  <a:lnTo>
                    <a:pt x="218159" y="141100"/>
                  </a:lnTo>
                  <a:lnTo>
                    <a:pt x="257935" y="130613"/>
                  </a:lnTo>
                  <a:lnTo>
                    <a:pt x="305215" y="127127"/>
                  </a:lnTo>
                  <a:lnTo>
                    <a:pt x="352429" y="130605"/>
                  </a:lnTo>
                  <a:lnTo>
                    <a:pt x="391999" y="141042"/>
                  </a:lnTo>
                  <a:lnTo>
                    <a:pt x="448038" y="182790"/>
                  </a:lnTo>
                  <a:lnTo>
                    <a:pt x="472941" y="241288"/>
                  </a:lnTo>
                  <a:lnTo>
                    <a:pt x="479166" y="280992"/>
                  </a:lnTo>
                  <a:lnTo>
                    <a:pt x="481241" y="327665"/>
                  </a:lnTo>
                  <a:lnTo>
                    <a:pt x="481241" y="655791"/>
                  </a:lnTo>
                  <a:lnTo>
                    <a:pt x="609059" y="655791"/>
                  </a:lnTo>
                  <a:lnTo>
                    <a:pt x="609059" y="328356"/>
                  </a:lnTo>
                  <a:lnTo>
                    <a:pt x="606774" y="271369"/>
                  </a:lnTo>
                  <a:lnTo>
                    <a:pt x="599422" y="219808"/>
                  </a:lnTo>
                  <a:lnTo>
                    <a:pt x="587003" y="173676"/>
                  </a:lnTo>
                  <a:lnTo>
                    <a:pt x="569516" y="132970"/>
                  </a:lnTo>
                  <a:lnTo>
                    <a:pt x="546962" y="97692"/>
                  </a:lnTo>
                  <a:lnTo>
                    <a:pt x="519340" y="67842"/>
                  </a:lnTo>
                  <a:lnTo>
                    <a:pt x="486651" y="43419"/>
                  </a:lnTo>
                  <a:lnTo>
                    <a:pt x="448894" y="24423"/>
                  </a:lnTo>
                  <a:lnTo>
                    <a:pt x="406069" y="10854"/>
                  </a:lnTo>
                  <a:lnTo>
                    <a:pt x="358176" y="2713"/>
                  </a:lnTo>
                  <a:lnTo>
                    <a:pt x="305215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6" name="object 21">
              <a:extLst>
                <a:ext uri="{FF2B5EF4-FFF2-40B4-BE49-F238E27FC236}">
                  <a16:creationId xmlns:a16="http://schemas.microsoft.com/office/drawing/2014/main" xmlns="" id="{17F1958B-B1DA-4796-61CA-8466059A405D}"/>
                </a:ext>
              </a:extLst>
            </p:cNvPr>
            <p:cNvSpPr/>
            <p:nvPr/>
          </p:nvSpPr>
          <p:spPr>
            <a:xfrm>
              <a:off x="6943357" y="2332007"/>
              <a:ext cx="528320" cy="657225"/>
            </a:xfrm>
            <a:custGeom>
              <a:avLst/>
              <a:gdLst/>
              <a:ahLst/>
              <a:cxnLst/>
              <a:rect l="l" t="t" r="r" b="b"/>
              <a:pathLst>
                <a:path w="528320" h="657225">
                  <a:moveTo>
                    <a:pt x="517278" y="128498"/>
                  </a:moveTo>
                  <a:lnTo>
                    <a:pt x="263070" y="128498"/>
                  </a:lnTo>
                  <a:lnTo>
                    <a:pt x="304201" y="130045"/>
                  </a:lnTo>
                  <a:lnTo>
                    <a:pt x="337801" y="134685"/>
                  </a:lnTo>
                  <a:lnTo>
                    <a:pt x="382407" y="153241"/>
                  </a:lnTo>
                  <a:lnTo>
                    <a:pt x="400165" y="196077"/>
                  </a:lnTo>
                  <a:lnTo>
                    <a:pt x="399917" y="208245"/>
                  </a:lnTo>
                  <a:lnTo>
                    <a:pt x="364330" y="250187"/>
                  </a:lnTo>
                  <a:lnTo>
                    <a:pt x="304662" y="262560"/>
                  </a:lnTo>
                  <a:lnTo>
                    <a:pt x="263531" y="264107"/>
                  </a:lnTo>
                  <a:lnTo>
                    <a:pt x="206487" y="266888"/>
                  </a:lnTo>
                  <a:lnTo>
                    <a:pt x="156204" y="275334"/>
                  </a:lnTo>
                  <a:lnTo>
                    <a:pt x="112684" y="289443"/>
                  </a:lnTo>
                  <a:lnTo>
                    <a:pt x="75924" y="309215"/>
                  </a:lnTo>
                  <a:lnTo>
                    <a:pt x="45925" y="334649"/>
                  </a:lnTo>
                  <a:lnTo>
                    <a:pt x="10824" y="393209"/>
                  </a:lnTo>
                  <a:lnTo>
                    <a:pt x="215" y="459033"/>
                  </a:lnTo>
                  <a:lnTo>
                    <a:pt x="171" y="461546"/>
                  </a:lnTo>
                  <a:lnTo>
                    <a:pt x="2244" y="495015"/>
                  </a:lnTo>
                  <a:lnTo>
                    <a:pt x="25472" y="558891"/>
                  </a:lnTo>
                  <a:lnTo>
                    <a:pt x="75774" y="612009"/>
                  </a:lnTo>
                  <a:lnTo>
                    <a:pt x="112460" y="631764"/>
                  </a:lnTo>
                  <a:lnTo>
                    <a:pt x="155983" y="645874"/>
                  </a:lnTo>
                  <a:lnTo>
                    <a:pt x="206340" y="654341"/>
                  </a:lnTo>
                  <a:lnTo>
                    <a:pt x="263531" y="657163"/>
                  </a:lnTo>
                  <a:lnTo>
                    <a:pt x="325562" y="654087"/>
                  </a:lnTo>
                  <a:lnTo>
                    <a:pt x="379324" y="644859"/>
                  </a:lnTo>
                  <a:lnTo>
                    <a:pt x="424814" y="629478"/>
                  </a:lnTo>
                  <a:lnTo>
                    <a:pt x="462034" y="607946"/>
                  </a:lnTo>
                  <a:lnTo>
                    <a:pt x="490983" y="580261"/>
                  </a:lnTo>
                  <a:lnTo>
                    <a:pt x="511661" y="546423"/>
                  </a:lnTo>
                  <a:lnTo>
                    <a:pt x="516852" y="529690"/>
                  </a:lnTo>
                  <a:lnTo>
                    <a:pt x="263531" y="529690"/>
                  </a:lnTo>
                  <a:lnTo>
                    <a:pt x="222901" y="528123"/>
                  </a:lnTo>
                  <a:lnTo>
                    <a:pt x="163802" y="515585"/>
                  </a:lnTo>
                  <a:lnTo>
                    <a:pt x="131596" y="484819"/>
                  </a:lnTo>
                  <a:lnTo>
                    <a:pt x="128169" y="461546"/>
                  </a:lnTo>
                  <a:lnTo>
                    <a:pt x="128208" y="459033"/>
                  </a:lnTo>
                  <a:lnTo>
                    <a:pt x="145335" y="417222"/>
                  </a:lnTo>
                  <a:lnTo>
                    <a:pt x="189657" y="399359"/>
                  </a:lnTo>
                  <a:lnTo>
                    <a:pt x="263531" y="393401"/>
                  </a:lnTo>
                  <a:lnTo>
                    <a:pt x="298222" y="392762"/>
                  </a:lnTo>
                  <a:lnTo>
                    <a:pt x="332677" y="389228"/>
                  </a:lnTo>
                  <a:lnTo>
                    <a:pt x="366717" y="382829"/>
                  </a:lnTo>
                  <a:lnTo>
                    <a:pt x="400165" y="373590"/>
                  </a:lnTo>
                  <a:lnTo>
                    <a:pt x="528088" y="373590"/>
                  </a:lnTo>
                  <a:lnTo>
                    <a:pt x="528088" y="195617"/>
                  </a:lnTo>
                  <a:lnTo>
                    <a:pt x="523928" y="149768"/>
                  </a:lnTo>
                  <a:lnTo>
                    <a:pt x="517278" y="128498"/>
                  </a:lnTo>
                  <a:close/>
                </a:path>
                <a:path w="528320" h="657225">
                  <a:moveTo>
                    <a:pt x="528088" y="373590"/>
                  </a:moveTo>
                  <a:lnTo>
                    <a:pt x="400165" y="373590"/>
                  </a:lnTo>
                  <a:lnTo>
                    <a:pt x="400165" y="460980"/>
                  </a:lnTo>
                  <a:lnTo>
                    <a:pt x="399705" y="461546"/>
                  </a:lnTo>
                  <a:lnTo>
                    <a:pt x="382407" y="505303"/>
                  </a:lnTo>
                  <a:lnTo>
                    <a:pt x="337572" y="523595"/>
                  </a:lnTo>
                  <a:lnTo>
                    <a:pt x="263531" y="529690"/>
                  </a:lnTo>
                  <a:lnTo>
                    <a:pt x="516852" y="529690"/>
                  </a:lnTo>
                  <a:lnTo>
                    <a:pt x="524068" y="506432"/>
                  </a:lnTo>
                  <a:lnTo>
                    <a:pt x="528091" y="461546"/>
                  </a:lnTo>
                  <a:lnTo>
                    <a:pt x="528088" y="373590"/>
                  </a:lnTo>
                  <a:close/>
                </a:path>
                <a:path w="528320" h="657225">
                  <a:moveTo>
                    <a:pt x="263416" y="0"/>
                  </a:moveTo>
                  <a:lnTo>
                    <a:pt x="206371" y="2803"/>
                  </a:lnTo>
                  <a:lnTo>
                    <a:pt x="156089" y="11213"/>
                  </a:lnTo>
                  <a:lnTo>
                    <a:pt x="112568" y="25231"/>
                  </a:lnTo>
                  <a:lnTo>
                    <a:pt x="75809" y="44857"/>
                  </a:lnTo>
                  <a:lnTo>
                    <a:pt x="45810" y="70092"/>
                  </a:lnTo>
                  <a:lnTo>
                    <a:pt x="10571" y="128600"/>
                  </a:lnTo>
                  <a:lnTo>
                    <a:pt x="0" y="196077"/>
                  </a:lnTo>
                  <a:lnTo>
                    <a:pt x="128153" y="196077"/>
                  </a:lnTo>
                  <a:lnTo>
                    <a:pt x="128592" y="184074"/>
                  </a:lnTo>
                  <a:lnTo>
                    <a:pt x="131722" y="172641"/>
                  </a:lnTo>
                  <a:lnTo>
                    <a:pt x="163172" y="142417"/>
                  </a:lnTo>
                  <a:lnTo>
                    <a:pt x="222039" y="130045"/>
                  </a:lnTo>
                  <a:lnTo>
                    <a:pt x="263070" y="128498"/>
                  </a:lnTo>
                  <a:lnTo>
                    <a:pt x="517278" y="128498"/>
                  </a:lnTo>
                  <a:lnTo>
                    <a:pt x="511504" y="110033"/>
                  </a:lnTo>
                  <a:lnTo>
                    <a:pt x="490816" y="76411"/>
                  </a:lnTo>
                  <a:lnTo>
                    <a:pt x="461864" y="48902"/>
                  </a:lnTo>
                  <a:lnTo>
                    <a:pt x="424647" y="27507"/>
                  </a:lnTo>
                  <a:lnTo>
                    <a:pt x="379167" y="12225"/>
                  </a:lnTo>
                  <a:lnTo>
                    <a:pt x="325423" y="3056"/>
                  </a:lnTo>
                  <a:lnTo>
                    <a:pt x="26341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7" name="object 22">
              <a:extLst>
                <a:ext uri="{FF2B5EF4-FFF2-40B4-BE49-F238E27FC236}">
                  <a16:creationId xmlns:a16="http://schemas.microsoft.com/office/drawing/2014/main" xmlns="" id="{656C655D-430F-2AC5-D1B1-D228573DE8FE}"/>
                </a:ext>
              </a:extLst>
            </p:cNvPr>
            <p:cNvSpPr/>
            <p:nvPr/>
          </p:nvSpPr>
          <p:spPr>
            <a:xfrm>
              <a:off x="7570053" y="2074088"/>
              <a:ext cx="609600" cy="915669"/>
            </a:xfrm>
            <a:custGeom>
              <a:avLst/>
              <a:gdLst/>
              <a:ahLst/>
              <a:cxnLst/>
              <a:rect l="l" t="t" r="r" b="b"/>
              <a:pathLst>
                <a:path w="609600" h="915669">
                  <a:moveTo>
                    <a:pt x="128048" y="0"/>
                  </a:moveTo>
                  <a:lnTo>
                    <a:pt x="0" y="0"/>
                  </a:lnTo>
                  <a:lnTo>
                    <a:pt x="46" y="588107"/>
                  </a:lnTo>
                  <a:lnTo>
                    <a:pt x="2323" y="643905"/>
                  </a:lnTo>
                  <a:lnTo>
                    <a:pt x="9710" y="695429"/>
                  </a:lnTo>
                  <a:lnTo>
                    <a:pt x="22162" y="741530"/>
                  </a:lnTo>
                  <a:lnTo>
                    <a:pt x="39677" y="782207"/>
                  </a:lnTo>
                  <a:lnTo>
                    <a:pt x="62256" y="817460"/>
                  </a:lnTo>
                  <a:lnTo>
                    <a:pt x="89899" y="847289"/>
                  </a:lnTo>
                  <a:lnTo>
                    <a:pt x="122606" y="871695"/>
                  </a:lnTo>
                  <a:lnTo>
                    <a:pt x="160377" y="890677"/>
                  </a:lnTo>
                  <a:lnTo>
                    <a:pt x="203212" y="904235"/>
                  </a:lnTo>
                  <a:lnTo>
                    <a:pt x="251218" y="912375"/>
                  </a:lnTo>
                  <a:lnTo>
                    <a:pt x="304074" y="915082"/>
                  </a:lnTo>
                  <a:lnTo>
                    <a:pt x="357078" y="912370"/>
                  </a:lnTo>
                  <a:lnTo>
                    <a:pt x="405043" y="904235"/>
                  </a:lnTo>
                  <a:lnTo>
                    <a:pt x="447855" y="890726"/>
                  </a:lnTo>
                  <a:lnTo>
                    <a:pt x="485692" y="871784"/>
                  </a:lnTo>
                  <a:lnTo>
                    <a:pt x="518483" y="847429"/>
                  </a:lnTo>
                  <a:lnTo>
                    <a:pt x="546230" y="817661"/>
                  </a:lnTo>
                  <a:lnTo>
                    <a:pt x="565623" y="787609"/>
                  </a:lnTo>
                  <a:lnTo>
                    <a:pt x="304074" y="787609"/>
                  </a:lnTo>
                  <a:lnTo>
                    <a:pt x="256794" y="784109"/>
                  </a:lnTo>
                  <a:lnTo>
                    <a:pt x="217232" y="773608"/>
                  </a:lnTo>
                  <a:lnTo>
                    <a:pt x="161262" y="731611"/>
                  </a:lnTo>
                  <a:lnTo>
                    <a:pt x="136350" y="673285"/>
                  </a:lnTo>
                  <a:lnTo>
                    <a:pt x="130123" y="633880"/>
                  </a:lnTo>
                  <a:lnTo>
                    <a:pt x="128069" y="588107"/>
                  </a:lnTo>
                  <a:lnTo>
                    <a:pt x="128048" y="386417"/>
                  </a:lnTo>
                  <a:lnTo>
                    <a:pt x="565107" y="386417"/>
                  </a:lnTo>
                  <a:lnTo>
                    <a:pt x="546284" y="357121"/>
                  </a:lnTo>
                  <a:lnTo>
                    <a:pt x="518538" y="327229"/>
                  </a:lnTo>
                  <a:lnTo>
                    <a:pt x="485742" y="302771"/>
                  </a:lnTo>
                  <a:lnTo>
                    <a:pt x="447898" y="283748"/>
                  </a:lnTo>
                  <a:lnTo>
                    <a:pt x="405006" y="270160"/>
                  </a:lnTo>
                  <a:lnTo>
                    <a:pt x="357064" y="262008"/>
                  </a:lnTo>
                  <a:lnTo>
                    <a:pt x="304074" y="259290"/>
                  </a:lnTo>
                  <a:lnTo>
                    <a:pt x="128048" y="259290"/>
                  </a:lnTo>
                  <a:lnTo>
                    <a:pt x="128048" y="0"/>
                  </a:lnTo>
                  <a:close/>
                </a:path>
                <a:path w="609600" h="915669">
                  <a:moveTo>
                    <a:pt x="565107" y="386417"/>
                  </a:moveTo>
                  <a:lnTo>
                    <a:pt x="304074" y="386417"/>
                  </a:lnTo>
                  <a:lnTo>
                    <a:pt x="351338" y="389869"/>
                  </a:lnTo>
                  <a:lnTo>
                    <a:pt x="391087" y="400334"/>
                  </a:lnTo>
                  <a:lnTo>
                    <a:pt x="448038" y="442311"/>
                  </a:lnTo>
                  <a:lnTo>
                    <a:pt x="472946" y="500980"/>
                  </a:lnTo>
                  <a:lnTo>
                    <a:pt x="479175" y="540814"/>
                  </a:lnTo>
                  <a:lnTo>
                    <a:pt x="481221" y="586955"/>
                  </a:lnTo>
                  <a:lnTo>
                    <a:pt x="481232" y="588107"/>
                  </a:lnTo>
                  <a:lnTo>
                    <a:pt x="479218" y="633880"/>
                  </a:lnTo>
                  <a:lnTo>
                    <a:pt x="473005" y="673285"/>
                  </a:lnTo>
                  <a:lnTo>
                    <a:pt x="448038" y="731611"/>
                  </a:lnTo>
                  <a:lnTo>
                    <a:pt x="391201" y="773608"/>
                  </a:lnTo>
                  <a:lnTo>
                    <a:pt x="351425" y="784109"/>
                  </a:lnTo>
                  <a:lnTo>
                    <a:pt x="304074" y="787609"/>
                  </a:lnTo>
                  <a:lnTo>
                    <a:pt x="565623" y="787609"/>
                  </a:lnTo>
                  <a:lnTo>
                    <a:pt x="586588" y="741891"/>
                  </a:lnTo>
                  <a:lnTo>
                    <a:pt x="599200" y="695888"/>
                  </a:lnTo>
                  <a:lnTo>
                    <a:pt x="606767" y="644473"/>
                  </a:lnTo>
                  <a:lnTo>
                    <a:pt x="609269" y="588107"/>
                  </a:lnTo>
                  <a:lnTo>
                    <a:pt x="609239" y="586955"/>
                  </a:lnTo>
                  <a:lnTo>
                    <a:pt x="606786" y="531041"/>
                  </a:lnTo>
                  <a:lnTo>
                    <a:pt x="599233" y="479409"/>
                  </a:lnTo>
                  <a:lnTo>
                    <a:pt x="586632" y="433211"/>
                  </a:lnTo>
                  <a:lnTo>
                    <a:pt x="568982" y="392449"/>
                  </a:lnTo>
                  <a:lnTo>
                    <a:pt x="565107" y="386417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8" name="object 23">
              <a:extLst>
                <a:ext uri="{FF2B5EF4-FFF2-40B4-BE49-F238E27FC236}">
                  <a16:creationId xmlns:a16="http://schemas.microsoft.com/office/drawing/2014/main" xmlns="" id="{CD1398F0-FC07-62C4-F5CC-E9932180C424}"/>
                </a:ext>
              </a:extLst>
            </p:cNvPr>
            <p:cNvSpPr/>
            <p:nvPr/>
          </p:nvSpPr>
          <p:spPr>
            <a:xfrm>
              <a:off x="8244171" y="2333379"/>
              <a:ext cx="593725" cy="655955"/>
            </a:xfrm>
            <a:custGeom>
              <a:avLst/>
              <a:gdLst/>
              <a:ahLst/>
              <a:cxnLst/>
              <a:rect l="l" t="t" r="r" b="b"/>
              <a:pathLst>
                <a:path w="593725" h="655955">
                  <a:moveTo>
                    <a:pt x="304524" y="0"/>
                  </a:moveTo>
                  <a:lnTo>
                    <a:pt x="251672" y="2438"/>
                  </a:lnTo>
                  <a:lnTo>
                    <a:pt x="203854" y="10336"/>
                  </a:lnTo>
                  <a:lnTo>
                    <a:pt x="161069" y="23694"/>
                  </a:lnTo>
                  <a:lnTo>
                    <a:pt x="123318" y="42511"/>
                  </a:lnTo>
                  <a:lnTo>
                    <a:pt x="90600" y="66788"/>
                  </a:lnTo>
                  <a:lnTo>
                    <a:pt x="62917" y="96524"/>
                  </a:lnTo>
                  <a:lnTo>
                    <a:pt x="40266" y="131720"/>
                  </a:lnTo>
                  <a:lnTo>
                    <a:pt x="22650" y="172376"/>
                  </a:lnTo>
                  <a:lnTo>
                    <a:pt x="10066" y="218491"/>
                  </a:lnTo>
                  <a:lnTo>
                    <a:pt x="2516" y="270065"/>
                  </a:lnTo>
                  <a:lnTo>
                    <a:pt x="0" y="327099"/>
                  </a:lnTo>
                  <a:lnTo>
                    <a:pt x="2512" y="384144"/>
                  </a:lnTo>
                  <a:lnTo>
                    <a:pt x="10051" y="435757"/>
                  </a:lnTo>
                  <a:lnTo>
                    <a:pt x="22615" y="481936"/>
                  </a:lnTo>
                  <a:lnTo>
                    <a:pt x="40205" y="522683"/>
                  </a:lnTo>
                  <a:lnTo>
                    <a:pt x="62820" y="557997"/>
                  </a:lnTo>
                  <a:lnTo>
                    <a:pt x="90462" y="587878"/>
                  </a:lnTo>
                  <a:lnTo>
                    <a:pt x="123130" y="612327"/>
                  </a:lnTo>
                  <a:lnTo>
                    <a:pt x="160824" y="631342"/>
                  </a:lnTo>
                  <a:lnTo>
                    <a:pt x="203544" y="644925"/>
                  </a:lnTo>
                  <a:lnTo>
                    <a:pt x="251291" y="653075"/>
                  </a:lnTo>
                  <a:lnTo>
                    <a:pt x="304064" y="655791"/>
                  </a:lnTo>
                  <a:lnTo>
                    <a:pt x="360244" y="652634"/>
                  </a:lnTo>
                  <a:lnTo>
                    <a:pt x="410705" y="643216"/>
                  </a:lnTo>
                  <a:lnTo>
                    <a:pt x="455447" y="627539"/>
                  </a:lnTo>
                  <a:lnTo>
                    <a:pt x="494470" y="605601"/>
                  </a:lnTo>
                  <a:lnTo>
                    <a:pt x="527773" y="577404"/>
                  </a:lnTo>
                  <a:lnTo>
                    <a:pt x="555356" y="542947"/>
                  </a:lnTo>
                  <a:lnTo>
                    <a:pt x="577220" y="502230"/>
                  </a:lnTo>
                  <a:lnTo>
                    <a:pt x="593364" y="455253"/>
                  </a:lnTo>
                  <a:lnTo>
                    <a:pt x="458331" y="455253"/>
                  </a:lnTo>
                  <a:lnTo>
                    <a:pt x="434418" y="487219"/>
                  </a:lnTo>
                  <a:lnTo>
                    <a:pt x="400813" y="510052"/>
                  </a:lnTo>
                  <a:lnTo>
                    <a:pt x="357516" y="523752"/>
                  </a:lnTo>
                  <a:lnTo>
                    <a:pt x="304524" y="528318"/>
                  </a:lnTo>
                  <a:lnTo>
                    <a:pt x="257244" y="524818"/>
                  </a:lnTo>
                  <a:lnTo>
                    <a:pt x="217683" y="514318"/>
                  </a:lnTo>
                  <a:lnTo>
                    <a:pt x="161712" y="472320"/>
                  </a:lnTo>
                  <a:lnTo>
                    <a:pt x="136855" y="413736"/>
                  </a:lnTo>
                  <a:lnTo>
                    <a:pt x="130615" y="373924"/>
                  </a:lnTo>
                  <a:lnTo>
                    <a:pt x="128498" y="327099"/>
                  </a:lnTo>
                  <a:lnTo>
                    <a:pt x="130528" y="280261"/>
                  </a:lnTo>
                  <a:lnTo>
                    <a:pt x="136741" y="240425"/>
                  </a:lnTo>
                  <a:lnTo>
                    <a:pt x="161712" y="181764"/>
                  </a:lnTo>
                  <a:lnTo>
                    <a:pt x="217742" y="140784"/>
                  </a:lnTo>
                  <a:lnTo>
                    <a:pt x="257290" y="130541"/>
                  </a:lnTo>
                  <a:lnTo>
                    <a:pt x="304524" y="127127"/>
                  </a:lnTo>
                  <a:lnTo>
                    <a:pt x="358030" y="131615"/>
                  </a:lnTo>
                  <a:lnTo>
                    <a:pt x="401500" y="145079"/>
                  </a:lnTo>
                  <a:lnTo>
                    <a:pt x="434935" y="167519"/>
                  </a:lnTo>
                  <a:lnTo>
                    <a:pt x="458331" y="198936"/>
                  </a:lnTo>
                  <a:lnTo>
                    <a:pt x="593364" y="198936"/>
                  </a:lnTo>
                  <a:lnTo>
                    <a:pt x="577327" y="152310"/>
                  </a:lnTo>
                  <a:lnTo>
                    <a:pt x="555557" y="111901"/>
                  </a:lnTo>
                  <a:lnTo>
                    <a:pt x="528052" y="77709"/>
                  </a:lnTo>
                  <a:lnTo>
                    <a:pt x="494814" y="49734"/>
                  </a:lnTo>
                  <a:lnTo>
                    <a:pt x="455842" y="27975"/>
                  </a:lnTo>
                  <a:lnTo>
                    <a:pt x="411137" y="12433"/>
                  </a:lnTo>
                  <a:lnTo>
                    <a:pt x="360697" y="3108"/>
                  </a:lnTo>
                  <a:lnTo>
                    <a:pt x="304524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9" name="object 24">
              <a:extLst>
                <a:ext uri="{FF2B5EF4-FFF2-40B4-BE49-F238E27FC236}">
                  <a16:creationId xmlns:a16="http://schemas.microsoft.com/office/drawing/2014/main" xmlns="" id="{6E2EA2A2-ED67-B4B6-A22B-163369428086}"/>
                </a:ext>
              </a:extLst>
            </p:cNvPr>
            <p:cNvSpPr/>
            <p:nvPr/>
          </p:nvSpPr>
          <p:spPr>
            <a:xfrm>
              <a:off x="8887124" y="2333379"/>
              <a:ext cx="609600" cy="655955"/>
            </a:xfrm>
            <a:custGeom>
              <a:avLst/>
              <a:gdLst/>
              <a:ahLst/>
              <a:cxnLst/>
              <a:rect l="l" t="t" r="r" b="b"/>
              <a:pathLst>
                <a:path w="609600" h="655955">
                  <a:moveTo>
                    <a:pt x="305446" y="0"/>
                  </a:moveTo>
                  <a:lnTo>
                    <a:pt x="252412" y="2717"/>
                  </a:lnTo>
                  <a:lnTo>
                    <a:pt x="204424" y="10870"/>
                  </a:lnTo>
                  <a:lnTo>
                    <a:pt x="161490" y="24458"/>
                  </a:lnTo>
                  <a:lnTo>
                    <a:pt x="123694" y="43419"/>
                  </a:lnTo>
                  <a:lnTo>
                    <a:pt x="90877" y="67842"/>
                  </a:lnTo>
                  <a:lnTo>
                    <a:pt x="63109" y="97692"/>
                  </a:lnTo>
                  <a:lnTo>
                    <a:pt x="40390" y="132970"/>
                  </a:lnTo>
                  <a:lnTo>
                    <a:pt x="22719" y="173676"/>
                  </a:lnTo>
                  <a:lnTo>
                    <a:pt x="10097" y="219808"/>
                  </a:lnTo>
                  <a:lnTo>
                    <a:pt x="2524" y="271369"/>
                  </a:lnTo>
                  <a:lnTo>
                    <a:pt x="0" y="328356"/>
                  </a:lnTo>
                  <a:lnTo>
                    <a:pt x="2731" y="385183"/>
                  </a:lnTo>
                  <a:lnTo>
                    <a:pt x="10468" y="436598"/>
                  </a:lnTo>
                  <a:lnTo>
                    <a:pt x="23210" y="482601"/>
                  </a:lnTo>
                  <a:lnTo>
                    <a:pt x="40958" y="523192"/>
                  </a:lnTo>
                  <a:lnTo>
                    <a:pt x="63711" y="558371"/>
                  </a:lnTo>
                  <a:lnTo>
                    <a:pt x="91469" y="588138"/>
                  </a:lnTo>
                  <a:lnTo>
                    <a:pt x="124232" y="612493"/>
                  </a:lnTo>
                  <a:lnTo>
                    <a:pt x="162000" y="631436"/>
                  </a:lnTo>
                  <a:lnTo>
                    <a:pt x="204772" y="644966"/>
                  </a:lnTo>
                  <a:lnTo>
                    <a:pt x="252549" y="653085"/>
                  </a:lnTo>
                  <a:lnTo>
                    <a:pt x="305331" y="655791"/>
                  </a:lnTo>
                  <a:lnTo>
                    <a:pt x="358104" y="653085"/>
                  </a:lnTo>
                  <a:lnTo>
                    <a:pt x="405851" y="644966"/>
                  </a:lnTo>
                  <a:lnTo>
                    <a:pt x="448572" y="631436"/>
                  </a:lnTo>
                  <a:lnTo>
                    <a:pt x="486267" y="612493"/>
                  </a:lnTo>
                  <a:lnTo>
                    <a:pt x="518937" y="588138"/>
                  </a:lnTo>
                  <a:lnTo>
                    <a:pt x="546580" y="558371"/>
                  </a:lnTo>
                  <a:lnTo>
                    <a:pt x="565753" y="528549"/>
                  </a:lnTo>
                  <a:lnTo>
                    <a:pt x="305331" y="528549"/>
                  </a:lnTo>
                  <a:lnTo>
                    <a:pt x="258139" y="525086"/>
                  </a:lnTo>
                  <a:lnTo>
                    <a:pt x="218607" y="514807"/>
                  </a:lnTo>
                  <a:lnTo>
                    <a:pt x="162518" y="473807"/>
                  </a:lnTo>
                  <a:lnTo>
                    <a:pt x="137543" y="415167"/>
                  </a:lnTo>
                  <a:lnTo>
                    <a:pt x="131337" y="375370"/>
                  </a:lnTo>
                  <a:lnTo>
                    <a:pt x="129314" y="328817"/>
                  </a:lnTo>
                  <a:lnTo>
                    <a:pt x="129315" y="328356"/>
                  </a:lnTo>
                  <a:lnTo>
                    <a:pt x="131423" y="281750"/>
                  </a:lnTo>
                  <a:lnTo>
                    <a:pt x="137665" y="241916"/>
                  </a:lnTo>
                  <a:lnTo>
                    <a:pt x="162518" y="183250"/>
                  </a:lnTo>
                  <a:lnTo>
                    <a:pt x="218692" y="141218"/>
                  </a:lnTo>
                  <a:lnTo>
                    <a:pt x="258246" y="130680"/>
                  </a:lnTo>
                  <a:lnTo>
                    <a:pt x="305446" y="127127"/>
                  </a:lnTo>
                  <a:lnTo>
                    <a:pt x="566093" y="127127"/>
                  </a:lnTo>
                  <a:lnTo>
                    <a:pt x="547376" y="97831"/>
                  </a:lnTo>
                  <a:lnTo>
                    <a:pt x="519734" y="67938"/>
                  </a:lnTo>
                  <a:lnTo>
                    <a:pt x="487020" y="43480"/>
                  </a:lnTo>
                  <a:lnTo>
                    <a:pt x="449234" y="24458"/>
                  </a:lnTo>
                  <a:lnTo>
                    <a:pt x="406377" y="10870"/>
                  </a:lnTo>
                  <a:lnTo>
                    <a:pt x="358371" y="2713"/>
                  </a:lnTo>
                  <a:lnTo>
                    <a:pt x="305446" y="0"/>
                  </a:lnTo>
                  <a:close/>
                </a:path>
                <a:path w="609600" h="655955">
                  <a:moveTo>
                    <a:pt x="566093" y="127127"/>
                  </a:moveTo>
                  <a:lnTo>
                    <a:pt x="305446" y="127127"/>
                  </a:lnTo>
                  <a:lnTo>
                    <a:pt x="352631" y="130578"/>
                  </a:lnTo>
                  <a:lnTo>
                    <a:pt x="392145" y="141044"/>
                  </a:lnTo>
                  <a:lnTo>
                    <a:pt x="448153" y="183020"/>
                  </a:lnTo>
                  <a:lnTo>
                    <a:pt x="473061" y="241690"/>
                  </a:lnTo>
                  <a:lnTo>
                    <a:pt x="479290" y="281524"/>
                  </a:lnTo>
                  <a:lnTo>
                    <a:pt x="481367" y="328356"/>
                  </a:lnTo>
                  <a:lnTo>
                    <a:pt x="479284" y="375411"/>
                  </a:lnTo>
                  <a:lnTo>
                    <a:pt x="473044" y="415222"/>
                  </a:lnTo>
                  <a:lnTo>
                    <a:pt x="448153" y="473807"/>
                  </a:lnTo>
                  <a:lnTo>
                    <a:pt x="392060" y="514921"/>
                  </a:lnTo>
                  <a:lnTo>
                    <a:pt x="352524" y="525170"/>
                  </a:lnTo>
                  <a:lnTo>
                    <a:pt x="305331" y="528549"/>
                  </a:lnTo>
                  <a:lnTo>
                    <a:pt x="565753" y="528549"/>
                  </a:lnTo>
                  <a:lnTo>
                    <a:pt x="586788" y="482601"/>
                  </a:lnTo>
                  <a:lnTo>
                    <a:pt x="599353" y="436598"/>
                  </a:lnTo>
                  <a:lnTo>
                    <a:pt x="606892" y="385183"/>
                  </a:lnTo>
                  <a:lnTo>
                    <a:pt x="609385" y="328817"/>
                  </a:lnTo>
                  <a:lnTo>
                    <a:pt x="609502" y="328356"/>
                  </a:lnTo>
                  <a:lnTo>
                    <a:pt x="607233" y="271750"/>
                  </a:lnTo>
                  <a:lnTo>
                    <a:pt x="599876" y="220118"/>
                  </a:lnTo>
                  <a:lnTo>
                    <a:pt x="587447" y="173921"/>
                  </a:lnTo>
                  <a:lnTo>
                    <a:pt x="569947" y="133158"/>
                  </a:lnTo>
                  <a:lnTo>
                    <a:pt x="566093" y="127127"/>
                  </a:lnTo>
                  <a:close/>
                </a:path>
                <a:path w="609600" h="655955">
                  <a:moveTo>
                    <a:pt x="609502" y="328356"/>
                  </a:moveTo>
                  <a:lnTo>
                    <a:pt x="609520" y="328817"/>
                  </a:lnTo>
                  <a:lnTo>
                    <a:pt x="609502" y="328356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grpSp>
          <p:nvGrpSpPr>
            <p:cNvPr id="30" name="object 25">
              <a:extLst>
                <a:ext uri="{FF2B5EF4-FFF2-40B4-BE49-F238E27FC236}">
                  <a16:creationId xmlns:a16="http://schemas.microsoft.com/office/drawing/2014/main" xmlns="" id="{658AEF53-E83F-DA2F-FD31-8DE805991C95}"/>
                </a:ext>
              </a:extLst>
            </p:cNvPr>
            <p:cNvGrpSpPr/>
            <p:nvPr/>
          </p:nvGrpSpPr>
          <p:grpSpPr>
            <a:xfrm>
              <a:off x="5516224" y="1909393"/>
              <a:ext cx="1198880" cy="1238250"/>
              <a:chOff x="5516224" y="1909393"/>
              <a:chExt cx="1198880" cy="1238250"/>
            </a:xfrm>
          </p:grpSpPr>
          <p:sp>
            <p:nvSpPr>
              <p:cNvPr id="31" name="object 26">
                <a:extLst>
                  <a:ext uri="{FF2B5EF4-FFF2-40B4-BE49-F238E27FC236}">
                    <a16:creationId xmlns:a16="http://schemas.microsoft.com/office/drawing/2014/main" xmlns="" id="{F4BB2867-DF78-F9B3-BFED-493DE9082863}"/>
                  </a:ext>
                </a:extLst>
              </p:cNvPr>
              <p:cNvSpPr/>
              <p:nvPr/>
            </p:nvSpPr>
            <p:spPr>
              <a:xfrm>
                <a:off x="5531218" y="2347384"/>
                <a:ext cx="1060450" cy="629920"/>
              </a:xfrm>
              <a:custGeom>
                <a:avLst/>
                <a:gdLst/>
                <a:ahLst/>
                <a:cxnLst/>
                <a:rect l="l" t="t" r="r" b="b"/>
                <a:pathLst>
                  <a:path w="1060450" h="629919">
                    <a:moveTo>
                      <a:pt x="400850" y="629767"/>
                    </a:moveTo>
                    <a:lnTo>
                      <a:pt x="355193" y="613117"/>
                    </a:lnTo>
                    <a:lnTo>
                      <a:pt x="310984" y="593521"/>
                    </a:lnTo>
                    <a:lnTo>
                      <a:pt x="268376" y="571068"/>
                    </a:lnTo>
                    <a:lnTo>
                      <a:pt x="227482" y="545884"/>
                    </a:lnTo>
                    <a:lnTo>
                      <a:pt x="188442" y="518045"/>
                    </a:lnTo>
                    <a:lnTo>
                      <a:pt x="151358" y="487680"/>
                    </a:lnTo>
                    <a:lnTo>
                      <a:pt x="116382" y="454875"/>
                    </a:lnTo>
                    <a:lnTo>
                      <a:pt x="83629" y="419747"/>
                    </a:lnTo>
                    <a:lnTo>
                      <a:pt x="53238" y="382384"/>
                    </a:lnTo>
                    <a:lnTo>
                      <a:pt x="25311" y="342900"/>
                    </a:lnTo>
                    <a:lnTo>
                      <a:pt x="0" y="301409"/>
                    </a:lnTo>
                    <a:lnTo>
                      <a:pt x="8026" y="321119"/>
                    </a:lnTo>
                    <a:lnTo>
                      <a:pt x="30365" y="363207"/>
                    </a:lnTo>
                    <a:lnTo>
                      <a:pt x="55968" y="402945"/>
                    </a:lnTo>
                    <a:lnTo>
                      <a:pt x="84620" y="440182"/>
                    </a:lnTo>
                    <a:lnTo>
                      <a:pt x="116141" y="474764"/>
                    </a:lnTo>
                    <a:lnTo>
                      <a:pt x="150342" y="506539"/>
                    </a:lnTo>
                    <a:lnTo>
                      <a:pt x="187020" y="535368"/>
                    </a:lnTo>
                    <a:lnTo>
                      <a:pt x="225983" y="561073"/>
                    </a:lnTo>
                    <a:lnTo>
                      <a:pt x="267042" y="583514"/>
                    </a:lnTo>
                    <a:lnTo>
                      <a:pt x="310007" y="602551"/>
                    </a:lnTo>
                    <a:lnTo>
                      <a:pt x="354672" y="618020"/>
                    </a:lnTo>
                    <a:lnTo>
                      <a:pt x="400850" y="629767"/>
                    </a:lnTo>
                    <a:close/>
                  </a:path>
                  <a:path w="1060450" h="629919">
                    <a:moveTo>
                      <a:pt x="1059942" y="290334"/>
                    </a:moveTo>
                    <a:lnTo>
                      <a:pt x="1055471" y="245808"/>
                    </a:lnTo>
                    <a:lnTo>
                      <a:pt x="1044270" y="202488"/>
                    </a:lnTo>
                    <a:lnTo>
                      <a:pt x="1026490" y="161201"/>
                    </a:lnTo>
                    <a:lnTo>
                      <a:pt x="1002296" y="122783"/>
                    </a:lnTo>
                    <a:lnTo>
                      <a:pt x="971829" y="88074"/>
                    </a:lnTo>
                    <a:lnTo>
                      <a:pt x="934440" y="57353"/>
                    </a:lnTo>
                    <a:lnTo>
                      <a:pt x="894638" y="32372"/>
                    </a:lnTo>
                    <a:lnTo>
                      <a:pt x="852487" y="14566"/>
                    </a:lnTo>
                    <a:lnTo>
                      <a:pt x="808824" y="3822"/>
                    </a:lnTo>
                    <a:lnTo>
                      <a:pt x="764451" y="0"/>
                    </a:lnTo>
                    <a:lnTo>
                      <a:pt x="720229" y="3009"/>
                    </a:lnTo>
                    <a:lnTo>
                      <a:pt x="676973" y="12712"/>
                    </a:lnTo>
                    <a:lnTo>
                      <a:pt x="635520" y="28981"/>
                    </a:lnTo>
                    <a:lnTo>
                      <a:pt x="596709" y="51714"/>
                    </a:lnTo>
                    <a:lnTo>
                      <a:pt x="561365" y="80784"/>
                    </a:lnTo>
                    <a:lnTo>
                      <a:pt x="530326" y="116052"/>
                    </a:lnTo>
                    <a:lnTo>
                      <a:pt x="505345" y="155854"/>
                    </a:lnTo>
                    <a:lnTo>
                      <a:pt x="487540" y="198005"/>
                    </a:lnTo>
                    <a:lnTo>
                      <a:pt x="476783" y="241668"/>
                    </a:lnTo>
                    <a:lnTo>
                      <a:pt x="472973" y="286042"/>
                    </a:lnTo>
                    <a:lnTo>
                      <a:pt x="475983" y="330263"/>
                    </a:lnTo>
                    <a:lnTo>
                      <a:pt x="485686" y="373519"/>
                    </a:lnTo>
                    <a:lnTo>
                      <a:pt x="501954" y="414959"/>
                    </a:lnTo>
                    <a:lnTo>
                      <a:pt x="524687" y="453771"/>
                    </a:lnTo>
                    <a:lnTo>
                      <a:pt x="553745" y="489115"/>
                    </a:lnTo>
                    <a:lnTo>
                      <a:pt x="589026" y="520153"/>
                    </a:lnTo>
                    <a:lnTo>
                      <a:pt x="635584" y="545744"/>
                    </a:lnTo>
                    <a:lnTo>
                      <a:pt x="684911" y="563816"/>
                    </a:lnTo>
                    <a:lnTo>
                      <a:pt x="736117" y="574243"/>
                    </a:lnTo>
                    <a:lnTo>
                      <a:pt x="788301" y="576948"/>
                    </a:lnTo>
                    <a:lnTo>
                      <a:pt x="840587" y="571779"/>
                    </a:lnTo>
                    <a:lnTo>
                      <a:pt x="892060" y="558647"/>
                    </a:lnTo>
                    <a:lnTo>
                      <a:pt x="956208" y="518922"/>
                    </a:lnTo>
                    <a:lnTo>
                      <a:pt x="1007618" y="463702"/>
                    </a:lnTo>
                    <a:lnTo>
                      <a:pt x="1031532" y="422732"/>
                    </a:lnTo>
                    <a:lnTo>
                      <a:pt x="1048118" y="379628"/>
                    </a:lnTo>
                    <a:lnTo>
                      <a:pt x="1057541" y="335216"/>
                    </a:lnTo>
                    <a:lnTo>
                      <a:pt x="1059942" y="290334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 sz="2968"/>
              </a:p>
            </p:txBody>
          </p:sp>
          <p:sp>
            <p:nvSpPr>
              <p:cNvPr id="32" name="object 27">
                <a:extLst>
                  <a:ext uri="{FF2B5EF4-FFF2-40B4-BE49-F238E27FC236}">
                    <a16:creationId xmlns:a16="http://schemas.microsoft.com/office/drawing/2014/main" xmlns="" id="{58566271-7B86-255F-4AA0-E6142D0AA7F5}"/>
                  </a:ext>
                </a:extLst>
              </p:cNvPr>
              <p:cNvSpPr/>
              <p:nvPr/>
            </p:nvSpPr>
            <p:spPr>
              <a:xfrm>
                <a:off x="5516224" y="2762522"/>
                <a:ext cx="979169" cy="385445"/>
              </a:xfrm>
              <a:custGeom>
                <a:avLst/>
                <a:gdLst/>
                <a:ahLst/>
                <a:cxnLst/>
                <a:rect l="l" t="t" r="r" b="b"/>
                <a:pathLst>
                  <a:path w="979170" h="385444">
                    <a:moveTo>
                      <a:pt x="0" y="0"/>
                    </a:moveTo>
                    <a:lnTo>
                      <a:pt x="20290" y="42896"/>
                    </a:lnTo>
                    <a:lnTo>
                      <a:pt x="43336" y="83581"/>
                    </a:lnTo>
                    <a:lnTo>
                      <a:pt x="68975" y="121990"/>
                    </a:lnTo>
                    <a:lnTo>
                      <a:pt x="97047" y="158058"/>
                    </a:lnTo>
                    <a:lnTo>
                      <a:pt x="127391" y="191722"/>
                    </a:lnTo>
                    <a:lnTo>
                      <a:pt x="159844" y="222916"/>
                    </a:lnTo>
                    <a:lnTo>
                      <a:pt x="194246" y="251577"/>
                    </a:lnTo>
                    <a:lnTo>
                      <a:pt x="230435" y="277639"/>
                    </a:lnTo>
                    <a:lnTo>
                      <a:pt x="268250" y="301038"/>
                    </a:lnTo>
                    <a:lnTo>
                      <a:pt x="307529" y="321710"/>
                    </a:lnTo>
                    <a:lnTo>
                      <a:pt x="348112" y="339590"/>
                    </a:lnTo>
                    <a:lnTo>
                      <a:pt x="389837" y="354614"/>
                    </a:lnTo>
                    <a:lnTo>
                      <a:pt x="432542" y="366717"/>
                    </a:lnTo>
                    <a:lnTo>
                      <a:pt x="476066" y="375835"/>
                    </a:lnTo>
                    <a:lnTo>
                      <a:pt x="520248" y="381903"/>
                    </a:lnTo>
                    <a:lnTo>
                      <a:pt x="564927" y="384857"/>
                    </a:lnTo>
                    <a:lnTo>
                      <a:pt x="609941" y="384632"/>
                    </a:lnTo>
                    <a:lnTo>
                      <a:pt x="655129" y="381164"/>
                    </a:lnTo>
                    <a:lnTo>
                      <a:pt x="700330" y="374388"/>
                    </a:lnTo>
                    <a:lnTo>
                      <a:pt x="745381" y="364240"/>
                    </a:lnTo>
                    <a:lnTo>
                      <a:pt x="790123" y="350656"/>
                    </a:lnTo>
                    <a:lnTo>
                      <a:pt x="834393" y="333570"/>
                    </a:lnTo>
                    <a:lnTo>
                      <a:pt x="872602" y="315661"/>
                    </a:lnTo>
                    <a:lnTo>
                      <a:pt x="909498" y="295278"/>
                    </a:lnTo>
                    <a:lnTo>
                      <a:pt x="944961" y="272493"/>
                    </a:lnTo>
                    <a:lnTo>
                      <a:pt x="978870" y="247374"/>
                    </a:lnTo>
                    <a:lnTo>
                      <a:pt x="933713" y="271527"/>
                    </a:lnTo>
                    <a:lnTo>
                      <a:pt x="887254" y="292284"/>
                    </a:lnTo>
                    <a:lnTo>
                      <a:pt x="839681" y="309625"/>
                    </a:lnTo>
                    <a:lnTo>
                      <a:pt x="791180" y="323530"/>
                    </a:lnTo>
                    <a:lnTo>
                      <a:pt x="741940" y="333981"/>
                    </a:lnTo>
                    <a:lnTo>
                      <a:pt x="692146" y="340958"/>
                    </a:lnTo>
                    <a:lnTo>
                      <a:pt x="641987" y="344440"/>
                    </a:lnTo>
                    <a:lnTo>
                      <a:pt x="591649" y="344410"/>
                    </a:lnTo>
                    <a:lnTo>
                      <a:pt x="541320" y="340846"/>
                    </a:lnTo>
                    <a:lnTo>
                      <a:pt x="491188" y="333731"/>
                    </a:lnTo>
                    <a:lnTo>
                      <a:pt x="441438" y="323044"/>
                    </a:lnTo>
                    <a:lnTo>
                      <a:pt x="392260" y="308765"/>
                    </a:lnTo>
                    <a:lnTo>
                      <a:pt x="346148" y="296935"/>
                    </a:lnTo>
                    <a:lnTo>
                      <a:pt x="301551" y="281403"/>
                    </a:lnTo>
                    <a:lnTo>
                      <a:pt x="258660" y="262321"/>
                    </a:lnTo>
                    <a:lnTo>
                      <a:pt x="217668" y="239840"/>
                    </a:lnTo>
                    <a:lnTo>
                      <a:pt x="178765" y="214111"/>
                    </a:lnTo>
                    <a:lnTo>
                      <a:pt x="142146" y="185285"/>
                    </a:lnTo>
                    <a:lnTo>
                      <a:pt x="108000" y="153514"/>
                    </a:lnTo>
                    <a:lnTo>
                      <a:pt x="76521" y="118949"/>
                    </a:lnTo>
                    <a:lnTo>
                      <a:pt x="47899" y="81741"/>
                    </a:lnTo>
                    <a:lnTo>
                      <a:pt x="22328" y="420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 sz="2968"/>
              </a:p>
            </p:txBody>
          </p:sp>
          <p:sp>
            <p:nvSpPr>
              <p:cNvPr id="33" name="object 28">
                <a:extLst>
                  <a:ext uri="{FF2B5EF4-FFF2-40B4-BE49-F238E27FC236}">
                    <a16:creationId xmlns:a16="http://schemas.microsoft.com/office/drawing/2014/main" xmlns="" id="{7F25DC6C-837D-E92C-4DDB-AB535AD90A5C}"/>
                  </a:ext>
                </a:extLst>
              </p:cNvPr>
              <p:cNvSpPr/>
              <p:nvPr/>
            </p:nvSpPr>
            <p:spPr>
              <a:xfrm>
                <a:off x="5586902" y="1909393"/>
                <a:ext cx="1128395" cy="1124585"/>
              </a:xfrm>
              <a:custGeom>
                <a:avLst/>
                <a:gdLst/>
                <a:ahLst/>
                <a:cxnLst/>
                <a:rect l="l" t="t" r="r" b="b"/>
                <a:pathLst>
                  <a:path w="1128395" h="1124585">
                    <a:moveTo>
                      <a:pt x="559054" y="0"/>
                    </a:moveTo>
                    <a:lnTo>
                      <a:pt x="512772" y="2314"/>
                    </a:lnTo>
                    <a:lnTo>
                      <a:pt x="467133" y="8390"/>
                    </a:lnTo>
                    <a:lnTo>
                      <a:pt x="422354" y="18120"/>
                    </a:lnTo>
                    <a:lnTo>
                      <a:pt x="378650" y="31401"/>
                    </a:lnTo>
                    <a:lnTo>
                      <a:pt x="336175" y="48155"/>
                    </a:lnTo>
                    <a:lnTo>
                      <a:pt x="295324" y="68190"/>
                    </a:lnTo>
                    <a:lnTo>
                      <a:pt x="256132" y="91488"/>
                    </a:lnTo>
                    <a:lnTo>
                      <a:pt x="218874" y="117914"/>
                    </a:lnTo>
                    <a:lnTo>
                      <a:pt x="183766" y="147363"/>
                    </a:lnTo>
                    <a:lnTo>
                      <a:pt x="151021" y="179730"/>
                    </a:lnTo>
                    <a:lnTo>
                      <a:pt x="120855" y="214909"/>
                    </a:lnTo>
                    <a:lnTo>
                      <a:pt x="93483" y="252794"/>
                    </a:lnTo>
                    <a:lnTo>
                      <a:pt x="69120" y="293281"/>
                    </a:lnTo>
                    <a:lnTo>
                      <a:pt x="47981" y="336264"/>
                    </a:lnTo>
                    <a:lnTo>
                      <a:pt x="30280" y="381638"/>
                    </a:lnTo>
                    <a:lnTo>
                      <a:pt x="16284" y="429292"/>
                    </a:lnTo>
                    <a:lnTo>
                      <a:pt x="6627" y="477360"/>
                    </a:lnTo>
                    <a:lnTo>
                      <a:pt x="1226" y="525589"/>
                    </a:lnTo>
                    <a:lnTo>
                      <a:pt x="0" y="573726"/>
                    </a:lnTo>
                    <a:lnTo>
                      <a:pt x="2865" y="621518"/>
                    </a:lnTo>
                    <a:lnTo>
                      <a:pt x="9741" y="668710"/>
                    </a:lnTo>
                    <a:lnTo>
                      <a:pt x="20545" y="715051"/>
                    </a:lnTo>
                    <a:lnTo>
                      <a:pt x="35195" y="760285"/>
                    </a:lnTo>
                    <a:lnTo>
                      <a:pt x="53609" y="804161"/>
                    </a:lnTo>
                    <a:lnTo>
                      <a:pt x="75705" y="846424"/>
                    </a:lnTo>
                    <a:lnTo>
                      <a:pt x="101401" y="886822"/>
                    </a:lnTo>
                    <a:lnTo>
                      <a:pt x="130616" y="925100"/>
                    </a:lnTo>
                    <a:lnTo>
                      <a:pt x="163266" y="961006"/>
                    </a:lnTo>
                    <a:lnTo>
                      <a:pt x="199270" y="994286"/>
                    </a:lnTo>
                    <a:lnTo>
                      <a:pt x="238546" y="1024686"/>
                    </a:lnTo>
                    <a:lnTo>
                      <a:pt x="297385" y="1061172"/>
                    </a:lnTo>
                    <a:lnTo>
                      <a:pt x="360291" y="1090088"/>
                    </a:lnTo>
                    <a:lnTo>
                      <a:pt x="410968" y="1105086"/>
                    </a:lnTo>
                    <a:lnTo>
                      <a:pt x="462493" y="1115779"/>
                    </a:lnTo>
                    <a:lnTo>
                      <a:pt x="514596" y="1122156"/>
                    </a:lnTo>
                    <a:lnTo>
                      <a:pt x="567005" y="1124206"/>
                    </a:lnTo>
                    <a:lnTo>
                      <a:pt x="619447" y="1121919"/>
                    </a:lnTo>
                    <a:lnTo>
                      <a:pt x="671652" y="1115282"/>
                    </a:lnTo>
                    <a:lnTo>
                      <a:pt x="723348" y="1104286"/>
                    </a:lnTo>
                    <a:lnTo>
                      <a:pt x="722887" y="1104286"/>
                    </a:lnTo>
                    <a:lnTo>
                      <a:pt x="768964" y="1083274"/>
                    </a:lnTo>
                    <a:lnTo>
                      <a:pt x="813274" y="1059150"/>
                    </a:lnTo>
                    <a:lnTo>
                      <a:pt x="855671" y="1032032"/>
                    </a:lnTo>
                    <a:lnTo>
                      <a:pt x="862350" y="1027066"/>
                    </a:lnTo>
                    <a:lnTo>
                      <a:pt x="617067" y="1027066"/>
                    </a:lnTo>
                    <a:lnTo>
                      <a:pt x="572256" y="1023952"/>
                    </a:lnTo>
                    <a:lnTo>
                      <a:pt x="527702" y="1016472"/>
                    </a:lnTo>
                    <a:lnTo>
                      <a:pt x="483730" y="1004570"/>
                    </a:lnTo>
                    <a:lnTo>
                      <a:pt x="440668" y="988189"/>
                    </a:lnTo>
                    <a:lnTo>
                      <a:pt x="398841" y="967273"/>
                    </a:lnTo>
                    <a:lnTo>
                      <a:pt x="358574" y="941767"/>
                    </a:lnTo>
                    <a:lnTo>
                      <a:pt x="321066" y="912324"/>
                    </a:lnTo>
                    <a:lnTo>
                      <a:pt x="287366" y="879873"/>
                    </a:lnTo>
                    <a:lnTo>
                      <a:pt x="257532" y="844742"/>
                    </a:lnTo>
                    <a:lnTo>
                      <a:pt x="231618" y="807256"/>
                    </a:lnTo>
                    <a:lnTo>
                      <a:pt x="209681" y="767743"/>
                    </a:lnTo>
                    <a:lnTo>
                      <a:pt x="191777" y="726528"/>
                    </a:lnTo>
                    <a:lnTo>
                      <a:pt x="177962" y="683938"/>
                    </a:lnTo>
                    <a:lnTo>
                      <a:pt x="168293" y="640299"/>
                    </a:lnTo>
                    <a:lnTo>
                      <a:pt x="162825" y="595937"/>
                    </a:lnTo>
                    <a:lnTo>
                      <a:pt x="161615" y="551179"/>
                    </a:lnTo>
                    <a:lnTo>
                      <a:pt x="164719" y="506351"/>
                    </a:lnTo>
                    <a:lnTo>
                      <a:pt x="172193" y="461780"/>
                    </a:lnTo>
                    <a:lnTo>
                      <a:pt x="184093" y="417791"/>
                    </a:lnTo>
                    <a:lnTo>
                      <a:pt x="200476" y="374711"/>
                    </a:lnTo>
                    <a:lnTo>
                      <a:pt x="221397" y="332866"/>
                    </a:lnTo>
                    <a:lnTo>
                      <a:pt x="246912" y="292583"/>
                    </a:lnTo>
                    <a:lnTo>
                      <a:pt x="276356" y="255075"/>
                    </a:lnTo>
                    <a:lnTo>
                      <a:pt x="308807" y="221376"/>
                    </a:lnTo>
                    <a:lnTo>
                      <a:pt x="343938" y="191542"/>
                    </a:lnTo>
                    <a:lnTo>
                      <a:pt x="381424" y="165628"/>
                    </a:lnTo>
                    <a:lnTo>
                      <a:pt x="420937" y="143692"/>
                    </a:lnTo>
                    <a:lnTo>
                      <a:pt x="462152" y="125789"/>
                    </a:lnTo>
                    <a:lnTo>
                      <a:pt x="504743" y="111975"/>
                    </a:lnTo>
                    <a:lnTo>
                      <a:pt x="548382" y="102306"/>
                    </a:lnTo>
                    <a:lnTo>
                      <a:pt x="592744" y="96839"/>
                    </a:lnTo>
                    <a:lnTo>
                      <a:pt x="637503" y="95629"/>
                    </a:lnTo>
                    <a:lnTo>
                      <a:pt x="877901" y="95629"/>
                    </a:lnTo>
                    <a:lnTo>
                      <a:pt x="875172" y="93657"/>
                    </a:lnTo>
                    <a:lnTo>
                      <a:pt x="834685" y="69295"/>
                    </a:lnTo>
                    <a:lnTo>
                      <a:pt x="791628" y="48126"/>
                    </a:lnTo>
                    <a:lnTo>
                      <a:pt x="746332" y="30455"/>
                    </a:lnTo>
                    <a:lnTo>
                      <a:pt x="699620" y="16673"/>
                    </a:lnTo>
                    <a:lnTo>
                      <a:pt x="652694" y="7074"/>
                    </a:lnTo>
                    <a:lnTo>
                      <a:pt x="605767" y="1551"/>
                    </a:lnTo>
                    <a:lnTo>
                      <a:pt x="559054" y="0"/>
                    </a:lnTo>
                    <a:close/>
                  </a:path>
                  <a:path w="1128395" h="1124585">
                    <a:moveTo>
                      <a:pt x="877901" y="95629"/>
                    </a:moveTo>
                    <a:lnTo>
                      <a:pt x="637503" y="95629"/>
                    </a:lnTo>
                    <a:lnTo>
                      <a:pt x="682332" y="98733"/>
                    </a:lnTo>
                    <a:lnTo>
                      <a:pt x="726905" y="106207"/>
                    </a:lnTo>
                    <a:lnTo>
                      <a:pt x="770895" y="118106"/>
                    </a:lnTo>
                    <a:lnTo>
                      <a:pt x="813976" y="134488"/>
                    </a:lnTo>
                    <a:lnTo>
                      <a:pt x="855822" y="155408"/>
                    </a:lnTo>
                    <a:lnTo>
                      <a:pt x="896107" y="180922"/>
                    </a:lnTo>
                    <a:lnTo>
                      <a:pt x="933615" y="210365"/>
                    </a:lnTo>
                    <a:lnTo>
                      <a:pt x="967314" y="242816"/>
                    </a:lnTo>
                    <a:lnTo>
                      <a:pt x="997148" y="277947"/>
                    </a:lnTo>
                    <a:lnTo>
                      <a:pt x="1023062" y="315433"/>
                    </a:lnTo>
                    <a:lnTo>
                      <a:pt x="1044998" y="354946"/>
                    </a:lnTo>
                    <a:lnTo>
                      <a:pt x="1062901" y="396161"/>
                    </a:lnTo>
                    <a:lnTo>
                      <a:pt x="1076715" y="438752"/>
                    </a:lnTo>
                    <a:lnTo>
                      <a:pt x="1086383" y="482391"/>
                    </a:lnTo>
                    <a:lnTo>
                      <a:pt x="1091850" y="526754"/>
                    </a:lnTo>
                    <a:lnTo>
                      <a:pt x="1093059" y="571512"/>
                    </a:lnTo>
                    <a:lnTo>
                      <a:pt x="1089954" y="616341"/>
                    </a:lnTo>
                    <a:lnTo>
                      <a:pt x="1082479" y="660914"/>
                    </a:lnTo>
                    <a:lnTo>
                      <a:pt x="1070578" y="704904"/>
                    </a:lnTo>
                    <a:lnTo>
                      <a:pt x="1054195" y="747985"/>
                    </a:lnTo>
                    <a:lnTo>
                      <a:pt x="1033274" y="789832"/>
                    </a:lnTo>
                    <a:lnTo>
                      <a:pt x="1007758" y="830116"/>
                    </a:lnTo>
                    <a:lnTo>
                      <a:pt x="978148" y="867813"/>
                    </a:lnTo>
                    <a:lnTo>
                      <a:pt x="945692" y="901483"/>
                    </a:lnTo>
                    <a:lnTo>
                      <a:pt x="910559" y="931290"/>
                    </a:lnTo>
                    <a:lnTo>
                      <a:pt x="873076" y="957177"/>
                    </a:lnTo>
                    <a:lnTo>
                      <a:pt x="833568" y="979089"/>
                    </a:lnTo>
                    <a:lnTo>
                      <a:pt x="792362" y="996970"/>
                    </a:lnTo>
                    <a:lnTo>
                      <a:pt x="749782" y="1010764"/>
                    </a:lnTo>
                    <a:lnTo>
                      <a:pt x="706156" y="1020416"/>
                    </a:lnTo>
                    <a:lnTo>
                      <a:pt x="661809" y="1025868"/>
                    </a:lnTo>
                    <a:lnTo>
                      <a:pt x="617067" y="1027066"/>
                    </a:lnTo>
                    <a:lnTo>
                      <a:pt x="862350" y="1027066"/>
                    </a:lnTo>
                    <a:lnTo>
                      <a:pt x="896009" y="1002037"/>
                    </a:lnTo>
                    <a:lnTo>
                      <a:pt x="934140" y="969283"/>
                    </a:lnTo>
                    <a:lnTo>
                      <a:pt x="969919" y="933888"/>
                    </a:lnTo>
                    <a:lnTo>
                      <a:pt x="1003198" y="895969"/>
                    </a:lnTo>
                    <a:lnTo>
                      <a:pt x="1033831" y="855644"/>
                    </a:lnTo>
                    <a:lnTo>
                      <a:pt x="1068055" y="802465"/>
                    </a:lnTo>
                    <a:lnTo>
                      <a:pt x="1097504" y="746506"/>
                    </a:lnTo>
                    <a:lnTo>
                      <a:pt x="1111287" y="699794"/>
                    </a:lnTo>
                    <a:lnTo>
                      <a:pt x="1120888" y="652866"/>
                    </a:lnTo>
                    <a:lnTo>
                      <a:pt x="1126412" y="605938"/>
                    </a:lnTo>
                    <a:lnTo>
                      <a:pt x="1127964" y="559225"/>
                    </a:lnTo>
                    <a:lnTo>
                      <a:pt x="1125650" y="512942"/>
                    </a:lnTo>
                    <a:lnTo>
                      <a:pt x="1119574" y="467303"/>
                    </a:lnTo>
                    <a:lnTo>
                      <a:pt x="1109844" y="422525"/>
                    </a:lnTo>
                    <a:lnTo>
                      <a:pt x="1096563" y="378820"/>
                    </a:lnTo>
                    <a:lnTo>
                      <a:pt x="1079769" y="336264"/>
                    </a:lnTo>
                    <a:lnTo>
                      <a:pt x="1059774" y="295495"/>
                    </a:lnTo>
                    <a:lnTo>
                      <a:pt x="1036476" y="256303"/>
                    </a:lnTo>
                    <a:lnTo>
                      <a:pt x="1010050" y="219046"/>
                    </a:lnTo>
                    <a:lnTo>
                      <a:pt x="980601" y="183938"/>
                    </a:lnTo>
                    <a:lnTo>
                      <a:pt x="948235" y="151194"/>
                    </a:lnTo>
                    <a:lnTo>
                      <a:pt x="913056" y="121029"/>
                    </a:lnTo>
                    <a:lnTo>
                      <a:pt x="877901" y="95629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 sz="2968"/>
              </a:p>
            </p:txBody>
          </p:sp>
          <p:sp>
            <p:nvSpPr>
              <p:cNvPr id="34" name="object 29">
                <a:extLst>
                  <a:ext uri="{FF2B5EF4-FFF2-40B4-BE49-F238E27FC236}">
                    <a16:creationId xmlns:a16="http://schemas.microsoft.com/office/drawing/2014/main" xmlns="" id="{A75A9553-2660-D179-4E5D-844CFD7E5B5D}"/>
                  </a:ext>
                </a:extLst>
              </p:cNvPr>
              <p:cNvSpPr/>
              <p:nvPr/>
            </p:nvSpPr>
            <p:spPr>
              <a:xfrm>
                <a:off x="5935642" y="2141146"/>
                <a:ext cx="767080" cy="762000"/>
              </a:xfrm>
              <a:custGeom>
                <a:avLst/>
                <a:gdLst/>
                <a:ahLst/>
                <a:cxnLst/>
                <a:rect l="l" t="t" r="r" b="b"/>
                <a:pathLst>
                  <a:path w="767079" h="762000">
                    <a:moveTo>
                      <a:pt x="383253" y="0"/>
                    </a:moveTo>
                    <a:lnTo>
                      <a:pt x="338054" y="2015"/>
                    </a:lnTo>
                    <a:lnTo>
                      <a:pt x="293541" y="9287"/>
                    </a:lnTo>
                    <a:lnTo>
                      <a:pt x="250212" y="21732"/>
                    </a:lnTo>
                    <a:lnTo>
                      <a:pt x="208568" y="39269"/>
                    </a:lnTo>
                    <a:lnTo>
                      <a:pt x="169106" y="61814"/>
                    </a:lnTo>
                    <a:lnTo>
                      <a:pt x="132328" y="89286"/>
                    </a:lnTo>
                    <a:lnTo>
                      <a:pt x="98731" y="121603"/>
                    </a:lnTo>
                    <a:lnTo>
                      <a:pt x="68815" y="158682"/>
                    </a:lnTo>
                    <a:lnTo>
                      <a:pt x="43793" y="199223"/>
                    </a:lnTo>
                    <a:lnTo>
                      <a:pt x="24486" y="241649"/>
                    </a:lnTo>
                    <a:lnTo>
                      <a:pt x="10810" y="285462"/>
                    </a:lnTo>
                    <a:lnTo>
                      <a:pt x="2676" y="330163"/>
                    </a:lnTo>
                    <a:lnTo>
                      <a:pt x="0" y="375256"/>
                    </a:lnTo>
                    <a:lnTo>
                      <a:pt x="2693" y="420242"/>
                    </a:lnTo>
                    <a:lnTo>
                      <a:pt x="10672" y="464623"/>
                    </a:lnTo>
                    <a:lnTo>
                      <a:pt x="23848" y="507902"/>
                    </a:lnTo>
                    <a:lnTo>
                      <a:pt x="42136" y="549579"/>
                    </a:lnTo>
                    <a:lnTo>
                      <a:pt x="65449" y="589157"/>
                    </a:lnTo>
                    <a:lnTo>
                      <a:pt x="93701" y="626139"/>
                    </a:lnTo>
                    <a:lnTo>
                      <a:pt x="126805" y="660026"/>
                    </a:lnTo>
                    <a:lnTo>
                      <a:pt x="164676" y="690320"/>
                    </a:lnTo>
                    <a:lnTo>
                      <a:pt x="205815" y="715795"/>
                    </a:lnTo>
                    <a:lnTo>
                      <a:pt x="248765" y="735610"/>
                    </a:lnTo>
                    <a:lnTo>
                      <a:pt x="293025" y="749847"/>
                    </a:lnTo>
                    <a:lnTo>
                      <a:pt x="338098" y="758588"/>
                    </a:lnTo>
                    <a:lnTo>
                      <a:pt x="383483" y="761914"/>
                    </a:lnTo>
                    <a:lnTo>
                      <a:pt x="428681" y="759907"/>
                    </a:lnTo>
                    <a:lnTo>
                      <a:pt x="472220" y="752808"/>
                    </a:lnTo>
                    <a:lnTo>
                      <a:pt x="378806" y="752808"/>
                    </a:lnTo>
                    <a:lnTo>
                      <a:pt x="328291" y="752173"/>
                    </a:lnTo>
                    <a:lnTo>
                      <a:pt x="278626" y="742921"/>
                    </a:lnTo>
                    <a:lnTo>
                      <a:pt x="230958" y="725167"/>
                    </a:lnTo>
                    <a:lnTo>
                      <a:pt x="186434" y="699021"/>
                    </a:lnTo>
                    <a:lnTo>
                      <a:pt x="178644" y="692844"/>
                    </a:lnTo>
                    <a:lnTo>
                      <a:pt x="171314" y="686886"/>
                    </a:lnTo>
                    <a:lnTo>
                      <a:pt x="125496" y="652450"/>
                    </a:lnTo>
                    <a:lnTo>
                      <a:pt x="93750" y="619182"/>
                    </a:lnTo>
                    <a:lnTo>
                      <a:pt x="67132" y="582621"/>
                    </a:lnTo>
                    <a:lnTo>
                      <a:pt x="45748" y="543339"/>
                    </a:lnTo>
                    <a:lnTo>
                      <a:pt x="29699" y="501911"/>
                    </a:lnTo>
                    <a:lnTo>
                      <a:pt x="19090" y="458911"/>
                    </a:lnTo>
                    <a:lnTo>
                      <a:pt x="14023" y="414912"/>
                    </a:lnTo>
                    <a:lnTo>
                      <a:pt x="14603" y="370488"/>
                    </a:lnTo>
                    <a:lnTo>
                      <a:pt x="20933" y="326213"/>
                    </a:lnTo>
                    <a:lnTo>
                      <a:pt x="33115" y="282661"/>
                    </a:lnTo>
                    <a:lnTo>
                      <a:pt x="51254" y="240405"/>
                    </a:lnTo>
                    <a:lnTo>
                      <a:pt x="75453" y="200021"/>
                    </a:lnTo>
                    <a:lnTo>
                      <a:pt x="104930" y="163819"/>
                    </a:lnTo>
                    <a:lnTo>
                      <a:pt x="138288" y="132692"/>
                    </a:lnTo>
                    <a:lnTo>
                      <a:pt x="174950" y="106734"/>
                    </a:lnTo>
                    <a:lnTo>
                      <a:pt x="214340" y="86037"/>
                    </a:lnTo>
                    <a:lnTo>
                      <a:pt x="255882" y="70696"/>
                    </a:lnTo>
                    <a:lnTo>
                      <a:pt x="299000" y="60804"/>
                    </a:lnTo>
                    <a:lnTo>
                      <a:pt x="343118" y="56454"/>
                    </a:lnTo>
                    <a:lnTo>
                      <a:pt x="577559" y="56454"/>
                    </a:lnTo>
                    <a:lnTo>
                      <a:pt x="560918" y="46140"/>
                    </a:lnTo>
                    <a:lnTo>
                      <a:pt x="517969" y="26310"/>
                    </a:lnTo>
                    <a:lnTo>
                      <a:pt x="473710" y="12064"/>
                    </a:lnTo>
                    <a:lnTo>
                      <a:pt x="428638" y="3322"/>
                    </a:lnTo>
                    <a:lnTo>
                      <a:pt x="383253" y="0"/>
                    </a:lnTo>
                    <a:close/>
                  </a:path>
                  <a:path w="767079" h="762000">
                    <a:moveTo>
                      <a:pt x="577559" y="56454"/>
                    </a:moveTo>
                    <a:lnTo>
                      <a:pt x="343118" y="56454"/>
                    </a:lnTo>
                    <a:lnTo>
                      <a:pt x="387659" y="57740"/>
                    </a:lnTo>
                    <a:lnTo>
                      <a:pt x="432048" y="64755"/>
                    </a:lnTo>
                    <a:lnTo>
                      <a:pt x="475709" y="77594"/>
                    </a:lnTo>
                    <a:lnTo>
                      <a:pt x="518064" y="96348"/>
                    </a:lnTo>
                    <a:lnTo>
                      <a:pt x="558538" y="121112"/>
                    </a:lnTo>
                    <a:lnTo>
                      <a:pt x="558308" y="121112"/>
                    </a:lnTo>
                    <a:lnTo>
                      <a:pt x="595165" y="151024"/>
                    </a:lnTo>
                    <a:lnTo>
                      <a:pt x="626983" y="184713"/>
                    </a:lnTo>
                    <a:lnTo>
                      <a:pt x="653660" y="221605"/>
                    </a:lnTo>
                    <a:lnTo>
                      <a:pt x="675090" y="261125"/>
                    </a:lnTo>
                    <a:lnTo>
                      <a:pt x="691171" y="302698"/>
                    </a:lnTo>
                    <a:lnTo>
                      <a:pt x="701798" y="345749"/>
                    </a:lnTo>
                    <a:lnTo>
                      <a:pt x="706869" y="389705"/>
                    </a:lnTo>
                    <a:lnTo>
                      <a:pt x="706278" y="433990"/>
                    </a:lnTo>
                    <a:lnTo>
                      <a:pt x="699924" y="478030"/>
                    </a:lnTo>
                    <a:lnTo>
                      <a:pt x="687701" y="521249"/>
                    </a:lnTo>
                    <a:lnTo>
                      <a:pt x="669507" y="563074"/>
                    </a:lnTo>
                    <a:lnTo>
                      <a:pt x="645237" y="602930"/>
                    </a:lnTo>
                    <a:lnTo>
                      <a:pt x="611173" y="643783"/>
                    </a:lnTo>
                    <a:lnTo>
                      <a:pt x="571389" y="678597"/>
                    </a:lnTo>
                    <a:lnTo>
                      <a:pt x="526668" y="706788"/>
                    </a:lnTo>
                    <a:lnTo>
                      <a:pt x="477797" y="727774"/>
                    </a:lnTo>
                    <a:lnTo>
                      <a:pt x="429024" y="744712"/>
                    </a:lnTo>
                    <a:lnTo>
                      <a:pt x="378806" y="752808"/>
                    </a:lnTo>
                    <a:lnTo>
                      <a:pt x="472220" y="752808"/>
                    </a:lnTo>
                    <a:lnTo>
                      <a:pt x="516522" y="740221"/>
                    </a:lnTo>
                    <a:lnTo>
                      <a:pt x="558165" y="722704"/>
                    </a:lnTo>
                    <a:lnTo>
                      <a:pt x="597626" y="700182"/>
                    </a:lnTo>
                    <a:lnTo>
                      <a:pt x="634404" y="672734"/>
                    </a:lnTo>
                    <a:lnTo>
                      <a:pt x="668000" y="640443"/>
                    </a:lnTo>
                    <a:lnTo>
                      <a:pt x="697916" y="603391"/>
                    </a:lnTo>
                    <a:lnTo>
                      <a:pt x="722927" y="562872"/>
                    </a:lnTo>
                    <a:lnTo>
                      <a:pt x="742204" y="520461"/>
                    </a:lnTo>
                    <a:lnTo>
                      <a:pt x="755838" y="476657"/>
                    </a:lnTo>
                    <a:lnTo>
                      <a:pt x="763921" y="431957"/>
                    </a:lnTo>
                    <a:lnTo>
                      <a:pt x="766546" y="386860"/>
                    </a:lnTo>
                    <a:lnTo>
                      <a:pt x="763803" y="341865"/>
                    </a:lnTo>
                    <a:lnTo>
                      <a:pt x="755786" y="297471"/>
                    </a:lnTo>
                    <a:lnTo>
                      <a:pt x="742586" y="254176"/>
                    </a:lnTo>
                    <a:lnTo>
                      <a:pt x="724294" y="212478"/>
                    </a:lnTo>
                    <a:lnTo>
                      <a:pt x="701004" y="172877"/>
                    </a:lnTo>
                    <a:lnTo>
                      <a:pt x="672805" y="135871"/>
                    </a:lnTo>
                    <a:lnTo>
                      <a:pt x="639792" y="101958"/>
                    </a:lnTo>
                    <a:lnTo>
                      <a:pt x="602055" y="71637"/>
                    </a:lnTo>
                    <a:lnTo>
                      <a:pt x="577559" y="5645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 sz="2968"/>
              </a:p>
            </p:txBody>
          </p:sp>
        </p:grpSp>
      </p:grpSp>
      <p:pic>
        <p:nvPicPr>
          <p:cNvPr id="35" name="Imagem 34">
            <a:extLst>
              <a:ext uri="{FF2B5EF4-FFF2-40B4-BE49-F238E27FC236}">
                <a16:creationId xmlns:a16="http://schemas.microsoft.com/office/drawing/2014/main" xmlns="" id="{EA508235-E3B9-B883-D765-3E0C7CB7D28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8438" b="83630" l="897" r="90000">
                        <a14:foregroundMark x1="4679" y1="34832" x2="4679" y2="34832"/>
                        <a14:foregroundMark x1="5256" y1="30457" x2="5256" y2="30457"/>
                        <a14:foregroundMark x1="929" y1="27644" x2="929" y2="27644"/>
                        <a14:foregroundMark x1="2340" y1="79255" x2="2340" y2="79255"/>
                        <a14:foregroundMark x1="5994" y1="83630" x2="5994" y2="83630"/>
                        <a14:backgroundMark x1="46314" y1="23438" x2="46314" y2="23438"/>
                        <a14:backgroundMark x1="46410" y1="25553" x2="46410" y2="255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7506" r="44804" b="15536"/>
          <a:stretch/>
        </p:blipFill>
        <p:spPr>
          <a:xfrm>
            <a:off x="-15532" y="-1017770"/>
            <a:ext cx="11096552" cy="12326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0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3DEAE60C-591C-4E26-9CE0-3C32C8459AE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506" b="15536"/>
          <a:stretch/>
        </p:blipFill>
        <p:spPr>
          <a:xfrm>
            <a:off x="1" y="-1017373"/>
            <a:ext cx="20104102" cy="12326326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0962DE9D-81CC-A063-5508-8705B9C51D67}"/>
              </a:ext>
            </a:extLst>
          </p:cNvPr>
          <p:cNvSpPr/>
          <p:nvPr/>
        </p:nvSpPr>
        <p:spPr>
          <a:xfrm>
            <a:off x="-1" y="397"/>
            <a:ext cx="20168465" cy="11308556"/>
          </a:xfrm>
          <a:prstGeom prst="rect">
            <a:avLst/>
          </a:prstGeom>
          <a:solidFill>
            <a:schemeClr val="bg1">
              <a:lumMod val="95000"/>
              <a:alpha val="8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968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96F3C41E-CF4B-4BE5-A020-E7397F876C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Slide do think-cell" r:id="rId5" imgW="348" imgH="346" progId="TCLayout.ActiveDocument.1">
                  <p:embed/>
                </p:oleObj>
              </mc:Choice>
              <mc:Fallback>
                <p:oleObj name="Slide do think-cell" r:id="rId5" imgW="348" imgH="34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96F3C41E-CF4B-4BE5-A020-E7397F876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Elipse 17">
            <a:extLst>
              <a:ext uri="{FF2B5EF4-FFF2-40B4-BE49-F238E27FC236}">
                <a16:creationId xmlns:a16="http://schemas.microsoft.com/office/drawing/2014/main" xmlns="" id="{A680E88F-DC17-4DD3-933F-BBC30AFA43B5}"/>
              </a:ext>
            </a:extLst>
          </p:cNvPr>
          <p:cNvSpPr/>
          <p:nvPr/>
        </p:nvSpPr>
        <p:spPr>
          <a:xfrm>
            <a:off x="16519909" y="5754963"/>
            <a:ext cx="152301" cy="152301"/>
          </a:xfrm>
          <a:prstGeom prst="ellipse">
            <a:avLst/>
          </a:prstGeom>
          <a:solidFill>
            <a:srgbClr val="FFE4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defRPr/>
            </a:pPr>
            <a:endParaRPr lang="en-US" sz="2968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xmlns="" id="{6975B86B-0371-90D5-7121-CAD177970D8D}"/>
              </a:ext>
            </a:extLst>
          </p:cNvPr>
          <p:cNvSpPr txBox="1">
            <a:spLocks/>
          </p:cNvSpPr>
          <p:nvPr/>
        </p:nvSpPr>
        <p:spPr>
          <a:xfrm>
            <a:off x="2210625" y="3111991"/>
            <a:ext cx="4829453" cy="622541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>
            <a:defPPr>
              <a:defRPr lang="pt-BR"/>
            </a:defPPr>
            <a:lvl1pPr marL="7701">
              <a:spcBef>
                <a:spcPts val="64"/>
              </a:spcBef>
              <a:defRPr sz="2400" b="1">
                <a:solidFill>
                  <a:srgbClr val="2A2C2F"/>
                </a:solidFill>
                <a:latin typeface="DIN Next Rounded LT Pro Bold"/>
                <a:cs typeface="DIN Next Rounded LT Pro Bold"/>
              </a:defRPr>
            </a:lvl1pPr>
          </a:lstStyle>
          <a:p>
            <a:r>
              <a:rPr lang="pt-BR" sz="3958" dirty="0"/>
              <a:t>A ABCON SINDCON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xmlns="" id="{65480DC8-E2E0-EF43-9F0E-4B96AD428586}"/>
              </a:ext>
            </a:extLst>
          </p:cNvPr>
          <p:cNvSpPr txBox="1"/>
          <p:nvPr/>
        </p:nvSpPr>
        <p:spPr>
          <a:xfrm>
            <a:off x="2210625" y="3914722"/>
            <a:ext cx="7380764" cy="5539141"/>
          </a:xfrm>
          <a:prstGeom prst="rect">
            <a:avLst/>
          </a:prstGeom>
        </p:spPr>
        <p:txBody>
          <a:bodyPr vert="horz" wrap="square" lIns="0" tIns="66036" rIns="0" bIns="0" rtlCol="0">
            <a:spAutoFit/>
          </a:bodyPr>
          <a:lstStyle/>
          <a:p>
            <a:pPr marL="12699" marR="81911" algn="just">
              <a:lnSpc>
                <a:spcPts val="2968"/>
              </a:lnSpc>
            </a:pP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Fundada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m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1996,</a:t>
            </a:r>
            <a:r>
              <a:rPr sz="2968" spc="-59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BCON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INDCON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-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ssociação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indicato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Nacional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as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ncessionárias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rivada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e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erviço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úblico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de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Água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e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sgoto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</a:t>
            </a:r>
            <a:r>
              <a:rPr sz="2968" spc="-49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ossui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tualmente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:</a:t>
            </a:r>
            <a:endParaRPr lang="pt-BR" sz="2968" spc="-10" dirty="0">
              <a:solidFill>
                <a:srgbClr val="2A2C2F"/>
              </a:solidFill>
              <a:latin typeface="DIN Next Rounded LT Pro Light"/>
              <a:cs typeface="DIN Next Rounded LT Pro Light"/>
            </a:endParaRPr>
          </a:p>
          <a:p>
            <a:pPr marL="12699" marR="81911" algn="just">
              <a:lnSpc>
                <a:spcPts val="2968"/>
              </a:lnSpc>
            </a:pPr>
            <a:endParaRPr lang="pt-BR" sz="2968" spc="-10" dirty="0">
              <a:latin typeface="DIN Next Rounded LT Pro Light"/>
              <a:cs typeface="DIN Next Rounded LT Pro Light"/>
            </a:endParaRPr>
          </a:p>
          <a:p>
            <a:pPr marL="12699" marR="81911" algn="just">
              <a:lnSpc>
                <a:spcPts val="2968"/>
              </a:lnSpc>
            </a:pPr>
            <a:endParaRPr lang="pt-BR" sz="3958" b="1" spc="-10" dirty="0">
              <a:solidFill>
                <a:srgbClr val="2A2C2F"/>
              </a:solidFill>
              <a:latin typeface="DIN Next Rounded LT Pro Light"/>
              <a:cs typeface="DIN Next Rounded LT Pro Bold"/>
            </a:endParaRPr>
          </a:p>
          <a:p>
            <a:pPr marL="12699" marR="81911" algn="ctr">
              <a:lnSpc>
                <a:spcPts val="2968"/>
              </a:lnSpc>
            </a:pPr>
            <a:r>
              <a:rPr lang="pt-BR" sz="395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14</a:t>
            </a:r>
            <a:r>
              <a:rPr sz="395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3958" b="1" spc="-10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Holdings</a:t>
            </a:r>
            <a:endParaRPr lang="pt-BR" sz="3958" spc="-10" dirty="0">
              <a:latin typeface="DIN Next Rounded LT Pro Bold"/>
              <a:cs typeface="DIN Next Rounded LT Pro Bold"/>
            </a:endParaRPr>
          </a:p>
          <a:p>
            <a:pPr marL="12699" marR="81911" algn="ctr">
              <a:lnSpc>
                <a:spcPts val="2968"/>
              </a:lnSpc>
            </a:pPr>
            <a:r>
              <a:rPr sz="3958" b="1" dirty="0">
                <a:solidFill>
                  <a:schemeClr val="tx1">
                    <a:lumMod val="85000"/>
                    <a:lumOff val="15000"/>
                  </a:schemeClr>
                </a:solidFill>
                <a:latin typeface="DIN Next Rounded LT Pro Bold"/>
                <a:cs typeface="DIN Next Rounded LT Pro Bold"/>
              </a:rPr>
              <a:t>+</a:t>
            </a:r>
            <a:endParaRPr lang="pt-BR" sz="3958" dirty="0">
              <a:solidFill>
                <a:schemeClr val="tx1">
                  <a:lumMod val="85000"/>
                  <a:lumOff val="15000"/>
                </a:schemeClr>
              </a:solidFill>
              <a:latin typeface="DIN Next Rounded LT Pro Bold"/>
              <a:cs typeface="DIN Next Rounded LT Pro Bold"/>
            </a:endParaRPr>
          </a:p>
          <a:p>
            <a:pPr marL="12699" marR="81911" algn="ctr">
              <a:lnSpc>
                <a:spcPts val="2968"/>
              </a:lnSpc>
            </a:pPr>
            <a:r>
              <a:rPr sz="395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1</a:t>
            </a:r>
            <a:r>
              <a:rPr lang="pt-BR" sz="395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23 </a:t>
            </a:r>
            <a:r>
              <a:rPr sz="3958" b="1" spc="-10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concessionária</a:t>
            </a:r>
            <a:r>
              <a:rPr lang="pt-BR" sz="3958" b="1" spc="-10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s </a:t>
            </a:r>
            <a:r>
              <a:rPr sz="3958" b="1" spc="-10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endParaRPr lang="pt-BR" sz="3958" b="1" spc="-10" dirty="0">
              <a:solidFill>
                <a:srgbClr val="2A2C2F"/>
              </a:solidFill>
              <a:latin typeface="DIN Next Rounded LT Pro Bold"/>
              <a:cs typeface="DIN Next Rounded LT Pro Bold"/>
            </a:endParaRPr>
          </a:p>
          <a:p>
            <a:pPr marL="12699" marR="81911" algn="ctr">
              <a:lnSpc>
                <a:spcPts val="2968"/>
              </a:lnSpc>
            </a:pPr>
            <a:r>
              <a:rPr sz="3958" b="1" spc="-10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associadas</a:t>
            </a:r>
            <a:endParaRPr lang="pt-BR" sz="3958" b="1" spc="-10" dirty="0">
              <a:solidFill>
                <a:srgbClr val="2A2C2F"/>
              </a:solidFill>
              <a:latin typeface="DIN Next Rounded LT Pro Bold"/>
              <a:cs typeface="DIN Next Rounded LT Pro Bold"/>
            </a:endParaRPr>
          </a:p>
          <a:p>
            <a:pPr algn="just">
              <a:spcBef>
                <a:spcPts val="54"/>
              </a:spcBef>
            </a:pPr>
            <a:endParaRPr sz="2950" dirty="0">
              <a:latin typeface="DIN Next Rounded LT Pro Bold"/>
              <a:cs typeface="DIN Next Rounded LT Pro Bold"/>
            </a:endParaRPr>
          </a:p>
          <a:p>
            <a:pPr marL="12699" marR="5081" algn="just">
              <a:lnSpc>
                <a:spcPts val="2968"/>
              </a:lnSpc>
            </a:pP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que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representa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lang="pt-BR" sz="296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mais de</a:t>
            </a:r>
            <a:r>
              <a:rPr sz="2968" b="1" spc="-10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lang="pt-BR" sz="2968" b="1" spc="-10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90</a:t>
            </a:r>
            <a:r>
              <a:rPr sz="2968" b="1" spc="-10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% </a:t>
            </a:r>
            <a:r>
              <a:rPr sz="296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da</a:t>
            </a:r>
            <a:r>
              <a:rPr sz="2968" b="1" spc="-5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2968" b="1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população</a:t>
            </a:r>
            <a:r>
              <a:rPr sz="2968" b="1" spc="-5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2968" b="1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atendida</a:t>
            </a:r>
            <a:r>
              <a:rPr sz="2968" b="1" spc="-5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296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pela</a:t>
            </a:r>
            <a:r>
              <a:rPr sz="2968" b="1" spc="-5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2968" b="1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iniciativa</a:t>
            </a:r>
            <a:r>
              <a:rPr sz="2968" b="1" spc="-5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2968" b="1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privada</a:t>
            </a:r>
            <a:r>
              <a:rPr sz="2968" b="1" spc="15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2968" spc="-2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m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erviço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de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água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u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sgoto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no 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Brasil.</a:t>
            </a:r>
            <a:endParaRPr sz="2968" dirty="0">
              <a:latin typeface="DIN Next Rounded LT Pro Light"/>
              <a:cs typeface="DIN Next Rounded LT Pro Light"/>
            </a:endParaRP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xmlns="" id="{D38A7E12-95B6-27E0-52BB-258225289B9D}"/>
              </a:ext>
            </a:extLst>
          </p:cNvPr>
          <p:cNvSpPr txBox="1"/>
          <p:nvPr/>
        </p:nvSpPr>
        <p:spPr>
          <a:xfrm>
            <a:off x="10200947" y="3125551"/>
            <a:ext cx="4185407" cy="622541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/>
          <a:p>
            <a:pPr marL="12699">
              <a:spcBef>
                <a:spcPts val="106"/>
              </a:spcBef>
            </a:pPr>
            <a:r>
              <a:rPr sz="3958" b="1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Nossa</a:t>
            </a:r>
            <a:r>
              <a:rPr sz="395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3958" b="1" spc="-10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Missão</a:t>
            </a:r>
            <a:endParaRPr sz="3958" dirty="0">
              <a:latin typeface="DIN Next Rounded LT Pro Bold"/>
              <a:cs typeface="DIN Next Rounded LT Pro Bold"/>
            </a:endParaRPr>
          </a:p>
        </p:txBody>
      </p:sp>
      <p:sp>
        <p:nvSpPr>
          <p:cNvPr id="8" name="object 11">
            <a:extLst>
              <a:ext uri="{FF2B5EF4-FFF2-40B4-BE49-F238E27FC236}">
                <a16:creationId xmlns:a16="http://schemas.microsoft.com/office/drawing/2014/main" xmlns="" id="{93F82293-2BB5-063E-99A6-44AD1A48E5EC}"/>
              </a:ext>
            </a:extLst>
          </p:cNvPr>
          <p:cNvSpPr txBox="1"/>
          <p:nvPr/>
        </p:nvSpPr>
        <p:spPr>
          <a:xfrm>
            <a:off x="10157612" y="4007411"/>
            <a:ext cx="9632362" cy="5457067"/>
          </a:xfrm>
          <a:prstGeom prst="rect">
            <a:avLst/>
          </a:prstGeom>
        </p:spPr>
        <p:txBody>
          <a:bodyPr vert="horz" wrap="square" lIns="0" tIns="66036" rIns="0" bIns="0" rtlCol="0">
            <a:spAutoFit/>
          </a:bodyPr>
          <a:lstStyle/>
          <a:p>
            <a:pPr marL="12699" marR="381617">
              <a:lnSpc>
                <a:spcPts val="2968"/>
              </a:lnSpc>
            </a:pP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Viabilizar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s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ndições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ara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que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etor</a:t>
            </a:r>
            <a:r>
              <a:rPr sz="2968" spc="524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rivado</a:t>
            </a:r>
            <a:r>
              <a:rPr sz="2968" spc="-3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eja</a:t>
            </a:r>
            <a:r>
              <a:rPr sz="2968" spc="-2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rotagonista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na</a:t>
            </a:r>
            <a:r>
              <a:rPr sz="2968" spc="-2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universalização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2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o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aneamento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básico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no 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Brasil.</a:t>
            </a:r>
            <a:endParaRPr sz="2968" dirty="0">
              <a:latin typeface="DIN Next Rounded LT Pro Light"/>
              <a:cs typeface="DIN Next Rounded LT Pro Light"/>
            </a:endParaRPr>
          </a:p>
          <a:p>
            <a:pPr>
              <a:lnSpc>
                <a:spcPts val="2968"/>
              </a:lnSpc>
            </a:pPr>
            <a:endParaRPr sz="2968" dirty="0">
              <a:latin typeface="DIN Next Rounded LT Pro Light"/>
              <a:cs typeface="DIN Next Rounded LT Pro Light"/>
            </a:endParaRPr>
          </a:p>
          <a:p>
            <a:pPr marL="12699" marR="885783" algn="just">
              <a:lnSpc>
                <a:spcPts val="2968"/>
              </a:lnSpc>
            </a:pP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tuamos</a:t>
            </a:r>
            <a:r>
              <a:rPr sz="2968" spc="-2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e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forma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fetiva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na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rticulação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o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interesses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o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etor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junto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rganismos</a:t>
            </a:r>
            <a:r>
              <a:rPr lang="pt-BR"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governamentai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</a:t>
            </a:r>
            <a:r>
              <a:rPr sz="2968" spc="-81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ngresso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Nacional,</a:t>
            </a:r>
            <a:r>
              <a:rPr sz="2968" spc="-64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ssembleia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Legislativa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</a:t>
            </a:r>
            <a:r>
              <a:rPr sz="2968" spc="-86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ntidades</a:t>
            </a:r>
            <a:r>
              <a:rPr sz="2968" spc="-3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representativas</a:t>
            </a:r>
            <a:r>
              <a:rPr sz="2968" spc="-3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nacionais</a:t>
            </a:r>
            <a:r>
              <a:rPr sz="2968" spc="-3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49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internacionai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</a:t>
            </a:r>
            <a:r>
              <a:rPr sz="2968" spc="406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mercado</a:t>
            </a:r>
            <a:r>
              <a:rPr sz="2968" spc="-3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financeiro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</a:t>
            </a:r>
            <a:r>
              <a:rPr sz="2968" spc="-74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ntre</a:t>
            </a:r>
            <a:r>
              <a:rPr sz="2968" spc="-3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utros.</a:t>
            </a:r>
            <a:endParaRPr sz="2968" dirty="0">
              <a:latin typeface="DIN Next Rounded LT Pro Light"/>
              <a:cs typeface="DIN Next Rounded LT Pro Light"/>
            </a:endParaRPr>
          </a:p>
          <a:p>
            <a:pPr>
              <a:lnSpc>
                <a:spcPts val="2968"/>
              </a:lnSpc>
            </a:pPr>
            <a:endParaRPr sz="2968" dirty="0">
              <a:latin typeface="DIN Next Rounded LT Pro Light"/>
              <a:cs typeface="DIN Next Rounded LT Pro Light"/>
            </a:endParaRPr>
          </a:p>
          <a:p>
            <a:pPr marL="12699" marR="267323">
              <a:lnSpc>
                <a:spcPts val="2968"/>
              </a:lnSpc>
            </a:pP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m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forte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resença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no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mbiente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institucional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brasileiro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</a:t>
            </a:r>
            <a:r>
              <a:rPr sz="2968" spc="-54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stamos</a:t>
            </a:r>
            <a:r>
              <a:rPr sz="2968" spc="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nstruindo</a:t>
            </a:r>
            <a:r>
              <a:rPr sz="2968" spc="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s</a:t>
            </a:r>
            <a:r>
              <a:rPr sz="2968" spc="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ontes</a:t>
            </a:r>
            <a:r>
              <a:rPr sz="2968" spc="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2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m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rincipai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tore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úblico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rivado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o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35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etor</a:t>
            </a:r>
            <a:r>
              <a:rPr sz="2968" spc="-3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entre</a:t>
            </a:r>
            <a:r>
              <a:rPr sz="2968" spc="-3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s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quais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órgãos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e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ntrole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gência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reguladora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.</a:t>
            </a:r>
            <a:endParaRPr sz="2968" dirty="0">
              <a:latin typeface="DIN Next Rounded LT Pro Light"/>
              <a:cs typeface="DIN Next Rounded LT Pro Light"/>
            </a:endParaRP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xmlns="" id="{129608E8-FE7A-F497-8CCB-22C401E70F89}"/>
              </a:ext>
            </a:extLst>
          </p:cNvPr>
          <p:cNvGrpSpPr/>
          <p:nvPr/>
        </p:nvGrpSpPr>
        <p:grpSpPr>
          <a:xfrm>
            <a:off x="5516542" y="1223857"/>
            <a:ext cx="9071039" cy="1238163"/>
            <a:chOff x="5516224" y="1909393"/>
            <a:chExt cx="9071676" cy="1238250"/>
          </a:xfrm>
        </p:grpSpPr>
        <p:sp>
          <p:nvSpPr>
            <p:cNvPr id="14" name="object 12">
              <a:extLst>
                <a:ext uri="{FF2B5EF4-FFF2-40B4-BE49-F238E27FC236}">
                  <a16:creationId xmlns:a16="http://schemas.microsoft.com/office/drawing/2014/main" xmlns="" id="{27EFCD0B-6C6C-F4F6-A3D9-0517984AEB59}"/>
                </a:ext>
              </a:extLst>
            </p:cNvPr>
            <p:cNvSpPr/>
            <p:nvPr/>
          </p:nvSpPr>
          <p:spPr>
            <a:xfrm>
              <a:off x="10429477" y="2332130"/>
              <a:ext cx="521970" cy="652780"/>
            </a:xfrm>
            <a:custGeom>
              <a:avLst/>
              <a:gdLst/>
              <a:ahLst/>
              <a:cxnLst/>
              <a:rect l="l" t="t" r="r" b="b"/>
              <a:pathLst>
                <a:path w="521970" h="652780">
                  <a:moveTo>
                    <a:pt x="260777" y="0"/>
                  </a:moveTo>
                  <a:lnTo>
                    <a:pt x="199655" y="3042"/>
                  </a:lnTo>
                  <a:lnTo>
                    <a:pt x="146684" y="12168"/>
                  </a:lnTo>
                  <a:lnTo>
                    <a:pt x="101863" y="27379"/>
                  </a:lnTo>
                  <a:lnTo>
                    <a:pt x="65191" y="48673"/>
                  </a:lnTo>
                  <a:lnTo>
                    <a:pt x="36669" y="76052"/>
                  </a:lnTo>
                  <a:lnTo>
                    <a:pt x="16297" y="109516"/>
                  </a:lnTo>
                  <a:lnTo>
                    <a:pt x="4074" y="149063"/>
                  </a:lnTo>
                  <a:lnTo>
                    <a:pt x="0" y="194695"/>
                  </a:lnTo>
                  <a:lnTo>
                    <a:pt x="5797" y="248201"/>
                  </a:lnTo>
                  <a:lnTo>
                    <a:pt x="23190" y="292930"/>
                  </a:lnTo>
                  <a:lnTo>
                    <a:pt x="52178" y="328884"/>
                  </a:lnTo>
                  <a:lnTo>
                    <a:pt x="92761" y="356062"/>
                  </a:lnTo>
                  <a:lnTo>
                    <a:pt x="159991" y="377132"/>
                  </a:lnTo>
                  <a:lnTo>
                    <a:pt x="204859" y="384233"/>
                  </a:lnTo>
                  <a:lnTo>
                    <a:pt x="257227" y="389045"/>
                  </a:lnTo>
                  <a:lnTo>
                    <a:pt x="298284" y="392593"/>
                  </a:lnTo>
                  <a:lnTo>
                    <a:pt x="331267" y="397062"/>
                  </a:lnTo>
                  <a:lnTo>
                    <a:pt x="373014" y="408856"/>
                  </a:lnTo>
                  <a:lnTo>
                    <a:pt x="394888" y="457075"/>
                  </a:lnTo>
                  <a:lnTo>
                    <a:pt x="394560" y="469170"/>
                  </a:lnTo>
                  <a:lnTo>
                    <a:pt x="359575" y="511148"/>
                  </a:lnTo>
                  <a:lnTo>
                    <a:pt x="300995" y="523516"/>
                  </a:lnTo>
                  <a:lnTo>
                    <a:pt x="260777" y="525104"/>
                  </a:lnTo>
                  <a:lnTo>
                    <a:pt x="220569" y="523586"/>
                  </a:lnTo>
                  <a:lnTo>
                    <a:pt x="162105" y="511107"/>
                  </a:lnTo>
                  <a:lnTo>
                    <a:pt x="130121" y="480342"/>
                  </a:lnTo>
                  <a:lnTo>
                    <a:pt x="126666" y="456499"/>
                  </a:lnTo>
                  <a:lnTo>
                    <a:pt x="0" y="456499"/>
                  </a:lnTo>
                  <a:lnTo>
                    <a:pt x="4045" y="502399"/>
                  </a:lnTo>
                  <a:lnTo>
                    <a:pt x="16244" y="542180"/>
                  </a:lnTo>
                  <a:lnTo>
                    <a:pt x="36596" y="575842"/>
                  </a:lnTo>
                  <a:lnTo>
                    <a:pt x="65102" y="603383"/>
                  </a:lnTo>
                  <a:lnTo>
                    <a:pt x="101762" y="624804"/>
                  </a:lnTo>
                  <a:lnTo>
                    <a:pt x="146575" y="640105"/>
                  </a:lnTo>
                  <a:lnTo>
                    <a:pt x="199542" y="649286"/>
                  </a:lnTo>
                  <a:lnTo>
                    <a:pt x="260662" y="652346"/>
                  </a:lnTo>
                  <a:lnTo>
                    <a:pt x="321783" y="649304"/>
                  </a:lnTo>
                  <a:lnTo>
                    <a:pt x="374755" y="640178"/>
                  </a:lnTo>
                  <a:lnTo>
                    <a:pt x="419576" y="624967"/>
                  </a:lnTo>
                  <a:lnTo>
                    <a:pt x="456247" y="603672"/>
                  </a:lnTo>
                  <a:lnTo>
                    <a:pt x="484769" y="576293"/>
                  </a:lnTo>
                  <a:lnTo>
                    <a:pt x="505142" y="542830"/>
                  </a:lnTo>
                  <a:lnTo>
                    <a:pt x="517365" y="503282"/>
                  </a:lnTo>
                  <a:lnTo>
                    <a:pt x="521439" y="457650"/>
                  </a:lnTo>
                  <a:lnTo>
                    <a:pt x="515714" y="404494"/>
                  </a:lnTo>
                  <a:lnTo>
                    <a:pt x="498537" y="359900"/>
                  </a:lnTo>
                  <a:lnTo>
                    <a:pt x="469906" y="323865"/>
                  </a:lnTo>
                  <a:lnTo>
                    <a:pt x="429819" y="296388"/>
                  </a:lnTo>
                  <a:lnTo>
                    <a:pt x="361873" y="275263"/>
                  </a:lnTo>
                  <a:lnTo>
                    <a:pt x="317146" y="268176"/>
                  </a:lnTo>
                  <a:lnTo>
                    <a:pt x="265248" y="263405"/>
                  </a:lnTo>
                  <a:lnTo>
                    <a:pt x="224108" y="259864"/>
                  </a:lnTo>
                  <a:lnTo>
                    <a:pt x="191271" y="255578"/>
                  </a:lnTo>
                  <a:lnTo>
                    <a:pt x="150717" y="244736"/>
                  </a:lnTo>
                  <a:lnTo>
                    <a:pt x="128395" y="212271"/>
                  </a:lnTo>
                  <a:lnTo>
                    <a:pt x="126896" y="195261"/>
                  </a:lnTo>
                  <a:lnTo>
                    <a:pt x="127260" y="183170"/>
                  </a:lnTo>
                  <a:lnTo>
                    <a:pt x="162331" y="141217"/>
                  </a:lnTo>
                  <a:lnTo>
                    <a:pt x="220799" y="128786"/>
                  </a:lnTo>
                  <a:lnTo>
                    <a:pt x="261007" y="127231"/>
                  </a:lnTo>
                  <a:lnTo>
                    <a:pt x="301211" y="128727"/>
                  </a:lnTo>
                  <a:lnTo>
                    <a:pt x="359677" y="140695"/>
                  </a:lnTo>
                  <a:lnTo>
                    <a:pt x="391543" y="170629"/>
                  </a:lnTo>
                  <a:lnTo>
                    <a:pt x="395003" y="194119"/>
                  </a:lnTo>
                  <a:lnTo>
                    <a:pt x="521785" y="194119"/>
                  </a:lnTo>
                  <a:lnTo>
                    <a:pt x="517655" y="148620"/>
                  </a:lnTo>
                  <a:lnTo>
                    <a:pt x="505383" y="109189"/>
                  </a:lnTo>
                  <a:lnTo>
                    <a:pt x="484970" y="75824"/>
                  </a:lnTo>
                  <a:lnTo>
                    <a:pt x="456415" y="48527"/>
                  </a:lnTo>
                  <a:lnTo>
                    <a:pt x="419718" y="27296"/>
                  </a:lnTo>
                  <a:lnTo>
                    <a:pt x="374879" y="12131"/>
                  </a:lnTo>
                  <a:lnTo>
                    <a:pt x="321899" y="3032"/>
                  </a:lnTo>
                  <a:lnTo>
                    <a:pt x="260777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37" name="object 13">
              <a:extLst>
                <a:ext uri="{FF2B5EF4-FFF2-40B4-BE49-F238E27FC236}">
                  <a16:creationId xmlns:a16="http://schemas.microsoft.com/office/drawing/2014/main" xmlns="" id="{01F33D49-BAFD-4282-335B-1BDFDD2DE18C}"/>
                </a:ext>
              </a:extLst>
            </p:cNvPr>
            <p:cNvSpPr/>
            <p:nvPr/>
          </p:nvSpPr>
          <p:spPr>
            <a:xfrm>
              <a:off x="11034187" y="2076617"/>
              <a:ext cx="127000" cy="126364"/>
            </a:xfrm>
            <a:custGeom>
              <a:avLst/>
              <a:gdLst/>
              <a:ahLst/>
              <a:cxnLst/>
              <a:rect l="l" t="t" r="r" b="b"/>
              <a:pathLst>
                <a:path w="127000" h="126364">
                  <a:moveTo>
                    <a:pt x="126666" y="0"/>
                  </a:moveTo>
                  <a:lnTo>
                    <a:pt x="0" y="0"/>
                  </a:lnTo>
                  <a:lnTo>
                    <a:pt x="0" y="125975"/>
                  </a:lnTo>
                  <a:lnTo>
                    <a:pt x="126666" y="125975"/>
                  </a:lnTo>
                  <a:lnTo>
                    <a:pt x="12666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38" name="object 14">
              <a:extLst>
                <a:ext uri="{FF2B5EF4-FFF2-40B4-BE49-F238E27FC236}">
                  <a16:creationId xmlns:a16="http://schemas.microsoft.com/office/drawing/2014/main" xmlns="" id="{0ADE42BE-8592-9E3D-4936-233F8FDC8C4C}"/>
                </a:ext>
              </a:extLst>
            </p:cNvPr>
            <p:cNvSpPr/>
            <p:nvPr/>
          </p:nvSpPr>
          <p:spPr>
            <a:xfrm>
              <a:off x="11034176" y="2332578"/>
              <a:ext cx="127000" cy="650240"/>
            </a:xfrm>
            <a:custGeom>
              <a:avLst/>
              <a:gdLst/>
              <a:ahLst/>
              <a:cxnLst/>
              <a:rect l="l" t="t" r="r" b="b"/>
              <a:pathLst>
                <a:path w="127000" h="650239">
                  <a:moveTo>
                    <a:pt x="126666" y="0"/>
                  </a:moveTo>
                  <a:lnTo>
                    <a:pt x="0" y="0"/>
                  </a:lnTo>
                  <a:lnTo>
                    <a:pt x="0" y="649718"/>
                  </a:lnTo>
                  <a:lnTo>
                    <a:pt x="126666" y="649718"/>
                  </a:lnTo>
                  <a:lnTo>
                    <a:pt x="12666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39" name="object 15">
              <a:extLst>
                <a:ext uri="{FF2B5EF4-FFF2-40B4-BE49-F238E27FC236}">
                  <a16:creationId xmlns:a16="http://schemas.microsoft.com/office/drawing/2014/main" xmlns="" id="{7DC53CD6-ABE2-0506-7557-9A273D3BC04F}"/>
                </a:ext>
              </a:extLst>
            </p:cNvPr>
            <p:cNvSpPr/>
            <p:nvPr/>
          </p:nvSpPr>
          <p:spPr>
            <a:xfrm>
              <a:off x="11259572" y="2332580"/>
              <a:ext cx="603885" cy="650240"/>
            </a:xfrm>
            <a:custGeom>
              <a:avLst/>
              <a:gdLst/>
              <a:ahLst/>
              <a:cxnLst/>
              <a:rect l="l" t="t" r="r" b="b"/>
              <a:pathLst>
                <a:path w="603884" h="650239">
                  <a:moveTo>
                    <a:pt x="302242" y="0"/>
                  </a:moveTo>
                  <a:lnTo>
                    <a:pt x="249787" y="2690"/>
                  </a:lnTo>
                  <a:lnTo>
                    <a:pt x="202328" y="10760"/>
                  </a:lnTo>
                  <a:lnTo>
                    <a:pt x="159865" y="24210"/>
                  </a:lnTo>
                  <a:lnTo>
                    <a:pt x="122397" y="43040"/>
                  </a:lnTo>
                  <a:lnTo>
                    <a:pt x="89924" y="67250"/>
                  </a:lnTo>
                  <a:lnTo>
                    <a:pt x="62447" y="96840"/>
                  </a:lnTo>
                  <a:lnTo>
                    <a:pt x="39966" y="131810"/>
                  </a:lnTo>
                  <a:lnTo>
                    <a:pt x="22481" y="172160"/>
                  </a:lnTo>
                  <a:lnTo>
                    <a:pt x="9991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0" y="649718"/>
                  </a:lnTo>
                  <a:lnTo>
                    <a:pt x="126781" y="649718"/>
                  </a:lnTo>
                  <a:lnTo>
                    <a:pt x="126781" y="325487"/>
                  </a:lnTo>
                  <a:lnTo>
                    <a:pt x="128842" y="279241"/>
                  </a:lnTo>
                  <a:lnTo>
                    <a:pt x="135027" y="239910"/>
                  </a:lnTo>
                  <a:lnTo>
                    <a:pt x="159764" y="181983"/>
                  </a:lnTo>
                  <a:lnTo>
                    <a:pt x="215999" y="140584"/>
                  </a:lnTo>
                  <a:lnTo>
                    <a:pt x="255370" y="130232"/>
                  </a:lnTo>
                  <a:lnTo>
                    <a:pt x="302242" y="126781"/>
                  </a:lnTo>
                  <a:lnTo>
                    <a:pt x="349047" y="130195"/>
                  </a:lnTo>
                  <a:lnTo>
                    <a:pt x="388221" y="140439"/>
                  </a:lnTo>
                  <a:lnTo>
                    <a:pt x="443682" y="181418"/>
                  </a:lnTo>
                  <a:lnTo>
                    <a:pt x="468335" y="239281"/>
                  </a:lnTo>
                  <a:lnTo>
                    <a:pt x="474497" y="278629"/>
                  </a:lnTo>
                  <a:lnTo>
                    <a:pt x="476550" y="324922"/>
                  </a:lnTo>
                  <a:lnTo>
                    <a:pt x="476550" y="649718"/>
                  </a:lnTo>
                  <a:lnTo>
                    <a:pt x="603332" y="649718"/>
                  </a:lnTo>
                  <a:lnTo>
                    <a:pt x="603332" y="325487"/>
                  </a:lnTo>
                  <a:lnTo>
                    <a:pt x="601033" y="268998"/>
                  </a:lnTo>
                  <a:lnTo>
                    <a:pt x="593720" y="217889"/>
                  </a:lnTo>
                  <a:lnTo>
                    <a:pt x="581392" y="172160"/>
                  </a:lnTo>
                  <a:lnTo>
                    <a:pt x="564049" y="131810"/>
                  </a:lnTo>
                  <a:lnTo>
                    <a:pt x="541692" y="96840"/>
                  </a:lnTo>
                  <a:lnTo>
                    <a:pt x="514320" y="67250"/>
                  </a:lnTo>
                  <a:lnTo>
                    <a:pt x="481933" y="43040"/>
                  </a:lnTo>
                  <a:lnTo>
                    <a:pt x="444532" y="24210"/>
                  </a:lnTo>
                  <a:lnTo>
                    <a:pt x="402117" y="10760"/>
                  </a:lnTo>
                  <a:lnTo>
                    <a:pt x="354686" y="2690"/>
                  </a:lnTo>
                  <a:lnTo>
                    <a:pt x="302242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0" name="object 16">
              <a:extLst>
                <a:ext uri="{FF2B5EF4-FFF2-40B4-BE49-F238E27FC236}">
                  <a16:creationId xmlns:a16="http://schemas.microsoft.com/office/drawing/2014/main" xmlns="" id="{4A628190-421D-9DF7-0DF8-92D8579998E2}"/>
                </a:ext>
              </a:extLst>
            </p:cNvPr>
            <p:cNvSpPr/>
            <p:nvPr/>
          </p:nvSpPr>
          <p:spPr>
            <a:xfrm>
              <a:off x="11952696" y="2076384"/>
              <a:ext cx="603885" cy="907415"/>
            </a:xfrm>
            <a:custGeom>
              <a:avLst/>
              <a:gdLst/>
              <a:ahLst/>
              <a:cxnLst/>
              <a:rect l="l" t="t" r="r" b="b"/>
              <a:pathLst>
                <a:path w="603884" h="907414">
                  <a:moveTo>
                    <a:pt x="603562" y="0"/>
                  </a:moveTo>
                  <a:lnTo>
                    <a:pt x="476550" y="0"/>
                  </a:lnTo>
                  <a:lnTo>
                    <a:pt x="476550" y="256201"/>
                  </a:lnTo>
                  <a:lnTo>
                    <a:pt x="302242" y="256201"/>
                  </a:lnTo>
                  <a:lnTo>
                    <a:pt x="249787" y="258904"/>
                  </a:lnTo>
                  <a:lnTo>
                    <a:pt x="202328" y="266974"/>
                  </a:lnTo>
                  <a:lnTo>
                    <a:pt x="159865" y="280411"/>
                  </a:lnTo>
                  <a:lnTo>
                    <a:pt x="122397" y="299215"/>
                  </a:lnTo>
                  <a:lnTo>
                    <a:pt x="89924" y="323385"/>
                  </a:lnTo>
                  <a:lnTo>
                    <a:pt x="62447" y="352922"/>
                  </a:lnTo>
                  <a:lnTo>
                    <a:pt x="39966" y="387826"/>
                  </a:lnTo>
                  <a:lnTo>
                    <a:pt x="22481" y="428097"/>
                  </a:lnTo>
                  <a:lnTo>
                    <a:pt x="9991" y="473735"/>
                  </a:lnTo>
                  <a:lnTo>
                    <a:pt x="2497" y="524740"/>
                  </a:lnTo>
                  <a:lnTo>
                    <a:pt x="0" y="581113"/>
                  </a:lnTo>
                  <a:lnTo>
                    <a:pt x="2765" y="637720"/>
                  </a:lnTo>
                  <a:lnTo>
                    <a:pt x="10479" y="688935"/>
                  </a:lnTo>
                  <a:lnTo>
                    <a:pt x="23142" y="734756"/>
                  </a:lnTo>
                  <a:lnTo>
                    <a:pt x="40753" y="775185"/>
                  </a:lnTo>
                  <a:lnTo>
                    <a:pt x="63312" y="810220"/>
                  </a:lnTo>
                  <a:lnTo>
                    <a:pt x="90820" y="839862"/>
                  </a:lnTo>
                  <a:lnTo>
                    <a:pt x="123275" y="864111"/>
                  </a:lnTo>
                  <a:lnTo>
                    <a:pt x="160679" y="882967"/>
                  </a:lnTo>
                  <a:lnTo>
                    <a:pt x="203030" y="896430"/>
                  </a:lnTo>
                  <a:lnTo>
                    <a:pt x="250330" y="904500"/>
                  </a:lnTo>
                  <a:lnTo>
                    <a:pt x="302577" y="907176"/>
                  </a:lnTo>
                  <a:lnTo>
                    <a:pt x="354813" y="904461"/>
                  </a:lnTo>
                  <a:lnTo>
                    <a:pt x="402075" y="896361"/>
                  </a:lnTo>
                  <a:lnTo>
                    <a:pt x="444362" y="882875"/>
                  </a:lnTo>
                  <a:lnTo>
                    <a:pt x="481674" y="864005"/>
                  </a:lnTo>
                  <a:lnTo>
                    <a:pt x="514011" y="839749"/>
                  </a:lnTo>
                  <a:lnTo>
                    <a:pt x="541374" y="810107"/>
                  </a:lnTo>
                  <a:lnTo>
                    <a:pt x="559709" y="781421"/>
                  </a:lnTo>
                  <a:lnTo>
                    <a:pt x="302577" y="781421"/>
                  </a:lnTo>
                  <a:lnTo>
                    <a:pt x="255825" y="777991"/>
                  </a:lnTo>
                  <a:lnTo>
                    <a:pt x="216687" y="767590"/>
                  </a:lnTo>
                  <a:lnTo>
                    <a:pt x="161251" y="725873"/>
                  </a:lnTo>
                  <a:lnTo>
                    <a:pt x="136658" y="667665"/>
                  </a:lnTo>
                  <a:lnTo>
                    <a:pt x="130479" y="628148"/>
                  </a:lnTo>
                  <a:lnTo>
                    <a:pt x="128383" y="581689"/>
                  </a:lnTo>
                  <a:lnTo>
                    <a:pt x="130396" y="535209"/>
                  </a:lnTo>
                  <a:lnTo>
                    <a:pt x="136544" y="495647"/>
                  </a:lnTo>
                  <a:lnTo>
                    <a:pt x="161251" y="437264"/>
                  </a:lnTo>
                  <a:lnTo>
                    <a:pt x="216687" y="396553"/>
                  </a:lnTo>
                  <a:lnTo>
                    <a:pt x="255825" y="386375"/>
                  </a:lnTo>
                  <a:lnTo>
                    <a:pt x="302577" y="382983"/>
                  </a:lnTo>
                  <a:lnTo>
                    <a:pt x="603562" y="382983"/>
                  </a:lnTo>
                  <a:lnTo>
                    <a:pt x="603562" y="0"/>
                  </a:lnTo>
                  <a:close/>
                </a:path>
                <a:path w="603884" h="907414">
                  <a:moveTo>
                    <a:pt x="603562" y="382983"/>
                  </a:moveTo>
                  <a:lnTo>
                    <a:pt x="476896" y="382983"/>
                  </a:lnTo>
                  <a:lnTo>
                    <a:pt x="476870" y="581689"/>
                  </a:lnTo>
                  <a:lnTo>
                    <a:pt x="474835" y="627525"/>
                  </a:lnTo>
                  <a:lnTo>
                    <a:pt x="468650" y="667122"/>
                  </a:lnTo>
                  <a:lnTo>
                    <a:pt x="443913" y="725873"/>
                  </a:lnTo>
                  <a:lnTo>
                    <a:pt x="388476" y="767480"/>
                  </a:lnTo>
                  <a:lnTo>
                    <a:pt x="349335" y="777908"/>
                  </a:lnTo>
                  <a:lnTo>
                    <a:pt x="302577" y="781421"/>
                  </a:lnTo>
                  <a:lnTo>
                    <a:pt x="559709" y="781421"/>
                  </a:lnTo>
                  <a:lnTo>
                    <a:pt x="581174" y="734667"/>
                  </a:lnTo>
                  <a:lnTo>
                    <a:pt x="593612" y="688869"/>
                  </a:lnTo>
                  <a:lnTo>
                    <a:pt x="601075" y="637684"/>
                  </a:lnTo>
                  <a:lnTo>
                    <a:pt x="603537" y="581689"/>
                  </a:lnTo>
                  <a:lnTo>
                    <a:pt x="603562" y="382983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1" name="object 17">
              <a:extLst>
                <a:ext uri="{FF2B5EF4-FFF2-40B4-BE49-F238E27FC236}">
                  <a16:creationId xmlns:a16="http://schemas.microsoft.com/office/drawing/2014/main" xmlns="" id="{3C39E7BA-EB80-84AE-B93A-ACD0F622ABB0}"/>
                </a:ext>
              </a:extLst>
            </p:cNvPr>
            <p:cNvSpPr/>
            <p:nvPr/>
          </p:nvSpPr>
          <p:spPr>
            <a:xfrm>
              <a:off x="12651313" y="2332580"/>
              <a:ext cx="588010" cy="650240"/>
            </a:xfrm>
            <a:custGeom>
              <a:avLst/>
              <a:gdLst/>
              <a:ahLst/>
              <a:cxnLst/>
              <a:rect l="l" t="t" r="r" b="b"/>
              <a:pathLst>
                <a:path w="588009" h="650239">
                  <a:moveTo>
                    <a:pt x="301100" y="0"/>
                  </a:moveTo>
                  <a:lnTo>
                    <a:pt x="248842" y="2471"/>
                  </a:lnTo>
                  <a:lnTo>
                    <a:pt x="201562" y="10344"/>
                  </a:lnTo>
                  <a:lnTo>
                    <a:pt x="159258" y="23618"/>
                  </a:lnTo>
                  <a:lnTo>
                    <a:pt x="121931" y="42292"/>
                  </a:lnTo>
                  <a:lnTo>
                    <a:pt x="89582" y="66367"/>
                  </a:lnTo>
                  <a:lnTo>
                    <a:pt x="62209" y="95843"/>
                  </a:lnTo>
                  <a:lnTo>
                    <a:pt x="39814" y="130720"/>
                  </a:lnTo>
                  <a:lnTo>
                    <a:pt x="22395" y="170997"/>
                  </a:lnTo>
                  <a:lnTo>
                    <a:pt x="9953" y="216674"/>
                  </a:lnTo>
                  <a:lnTo>
                    <a:pt x="2488" y="267752"/>
                  </a:lnTo>
                  <a:lnTo>
                    <a:pt x="0" y="324230"/>
                  </a:lnTo>
                  <a:lnTo>
                    <a:pt x="2488" y="380719"/>
                  </a:lnTo>
                  <a:lnTo>
                    <a:pt x="9953" y="431828"/>
                  </a:lnTo>
                  <a:lnTo>
                    <a:pt x="22395" y="477558"/>
                  </a:lnTo>
                  <a:lnTo>
                    <a:pt x="39814" y="517907"/>
                  </a:lnTo>
                  <a:lnTo>
                    <a:pt x="62209" y="552877"/>
                  </a:lnTo>
                  <a:lnTo>
                    <a:pt x="89582" y="582467"/>
                  </a:lnTo>
                  <a:lnTo>
                    <a:pt x="121931" y="606677"/>
                  </a:lnTo>
                  <a:lnTo>
                    <a:pt x="159258" y="625508"/>
                  </a:lnTo>
                  <a:lnTo>
                    <a:pt x="201562" y="638958"/>
                  </a:lnTo>
                  <a:lnTo>
                    <a:pt x="248842" y="647028"/>
                  </a:lnTo>
                  <a:lnTo>
                    <a:pt x="301100" y="649718"/>
                  </a:lnTo>
                  <a:lnTo>
                    <a:pt x="356757" y="646615"/>
                  </a:lnTo>
                  <a:lnTo>
                    <a:pt x="406737" y="637306"/>
                  </a:lnTo>
                  <a:lnTo>
                    <a:pt x="451041" y="621791"/>
                  </a:lnTo>
                  <a:lnTo>
                    <a:pt x="489669" y="600070"/>
                  </a:lnTo>
                  <a:lnTo>
                    <a:pt x="522621" y="572143"/>
                  </a:lnTo>
                  <a:lnTo>
                    <a:pt x="549896" y="538011"/>
                  </a:lnTo>
                  <a:lnTo>
                    <a:pt x="571494" y="497672"/>
                  </a:lnTo>
                  <a:lnTo>
                    <a:pt x="587416" y="451127"/>
                  </a:lnTo>
                  <a:lnTo>
                    <a:pt x="453996" y="451127"/>
                  </a:lnTo>
                  <a:lnTo>
                    <a:pt x="430299" y="482744"/>
                  </a:lnTo>
                  <a:lnTo>
                    <a:pt x="397012" y="505328"/>
                  </a:lnTo>
                  <a:lnTo>
                    <a:pt x="354135" y="518880"/>
                  </a:lnTo>
                  <a:lnTo>
                    <a:pt x="301666" y="523397"/>
                  </a:lnTo>
                  <a:lnTo>
                    <a:pt x="254826" y="519940"/>
                  </a:lnTo>
                  <a:lnTo>
                    <a:pt x="215658" y="509568"/>
                  </a:lnTo>
                  <a:lnTo>
                    <a:pt x="160340" y="468079"/>
                  </a:lnTo>
                  <a:lnTo>
                    <a:pt x="135173" y="410382"/>
                  </a:lnTo>
                  <a:lnTo>
                    <a:pt x="128879" y="371079"/>
                  </a:lnTo>
                  <a:lnTo>
                    <a:pt x="126781" y="324806"/>
                  </a:lnTo>
                  <a:lnTo>
                    <a:pt x="128842" y="278492"/>
                  </a:lnTo>
                  <a:lnTo>
                    <a:pt x="135027" y="239080"/>
                  </a:lnTo>
                  <a:lnTo>
                    <a:pt x="159764" y="180957"/>
                  </a:lnTo>
                  <a:lnTo>
                    <a:pt x="215142" y="140326"/>
                  </a:lnTo>
                  <a:lnTo>
                    <a:pt x="254300" y="130167"/>
                  </a:lnTo>
                  <a:lnTo>
                    <a:pt x="301100" y="126781"/>
                  </a:lnTo>
                  <a:lnTo>
                    <a:pt x="354040" y="131191"/>
                  </a:lnTo>
                  <a:lnTo>
                    <a:pt x="397074" y="144419"/>
                  </a:lnTo>
                  <a:lnTo>
                    <a:pt x="430200" y="166467"/>
                  </a:lnTo>
                  <a:lnTo>
                    <a:pt x="453420" y="197334"/>
                  </a:lnTo>
                  <a:lnTo>
                    <a:pt x="587416" y="197334"/>
                  </a:lnTo>
                  <a:lnTo>
                    <a:pt x="571494" y="151084"/>
                  </a:lnTo>
                  <a:lnTo>
                    <a:pt x="549896" y="111000"/>
                  </a:lnTo>
                  <a:lnTo>
                    <a:pt x="522621" y="77083"/>
                  </a:lnTo>
                  <a:lnTo>
                    <a:pt x="489669" y="49333"/>
                  </a:lnTo>
                  <a:lnTo>
                    <a:pt x="451041" y="27750"/>
                  </a:lnTo>
                  <a:lnTo>
                    <a:pt x="406737" y="12333"/>
                  </a:lnTo>
                  <a:lnTo>
                    <a:pt x="356757" y="3083"/>
                  </a:lnTo>
                  <a:lnTo>
                    <a:pt x="301100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2" name="object 18">
              <a:extLst>
                <a:ext uri="{FF2B5EF4-FFF2-40B4-BE49-F238E27FC236}">
                  <a16:creationId xmlns:a16="http://schemas.microsoft.com/office/drawing/2014/main" xmlns="" id="{CDA37675-F51D-8033-6CFF-B9CD3E29ED2F}"/>
                </a:ext>
              </a:extLst>
            </p:cNvPr>
            <p:cNvSpPr/>
            <p:nvPr/>
          </p:nvSpPr>
          <p:spPr>
            <a:xfrm>
              <a:off x="13287519" y="2332583"/>
              <a:ext cx="603250" cy="650240"/>
            </a:xfrm>
            <a:custGeom>
              <a:avLst/>
              <a:gdLst/>
              <a:ahLst/>
              <a:cxnLst/>
              <a:rect l="l" t="t" r="r" b="b"/>
              <a:pathLst>
                <a:path w="603250" h="650239">
                  <a:moveTo>
                    <a:pt x="302242" y="0"/>
                  </a:moveTo>
                  <a:lnTo>
                    <a:pt x="249785" y="2690"/>
                  </a:lnTo>
                  <a:lnTo>
                    <a:pt x="202324" y="10760"/>
                  </a:lnTo>
                  <a:lnTo>
                    <a:pt x="159860" y="24210"/>
                  </a:lnTo>
                  <a:lnTo>
                    <a:pt x="122392" y="43040"/>
                  </a:lnTo>
                  <a:lnTo>
                    <a:pt x="89920" y="67250"/>
                  </a:lnTo>
                  <a:lnTo>
                    <a:pt x="62444" y="96840"/>
                  </a:lnTo>
                  <a:lnTo>
                    <a:pt x="39964" y="131810"/>
                  </a:lnTo>
                  <a:lnTo>
                    <a:pt x="22479" y="172160"/>
                  </a:lnTo>
                  <a:lnTo>
                    <a:pt x="9990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2705" y="381758"/>
                  </a:lnTo>
                  <a:lnTo>
                    <a:pt x="10365" y="432669"/>
                  </a:lnTo>
                  <a:lnTo>
                    <a:pt x="22979" y="478222"/>
                  </a:lnTo>
                  <a:lnTo>
                    <a:pt x="40548" y="518416"/>
                  </a:lnTo>
                  <a:lnTo>
                    <a:pt x="63070" y="553251"/>
                  </a:lnTo>
                  <a:lnTo>
                    <a:pt x="90547" y="582727"/>
                  </a:lnTo>
                  <a:lnTo>
                    <a:pt x="122978" y="606844"/>
                  </a:lnTo>
                  <a:lnTo>
                    <a:pt x="160363" y="625601"/>
                  </a:lnTo>
                  <a:lnTo>
                    <a:pt x="202702" y="638999"/>
                  </a:lnTo>
                  <a:lnTo>
                    <a:pt x="249995" y="647038"/>
                  </a:lnTo>
                  <a:lnTo>
                    <a:pt x="302242" y="649718"/>
                  </a:lnTo>
                  <a:lnTo>
                    <a:pt x="354475" y="647038"/>
                  </a:lnTo>
                  <a:lnTo>
                    <a:pt x="401735" y="638999"/>
                  </a:lnTo>
                  <a:lnTo>
                    <a:pt x="444020" y="625601"/>
                  </a:lnTo>
                  <a:lnTo>
                    <a:pt x="481331" y="606844"/>
                  </a:lnTo>
                  <a:lnTo>
                    <a:pt x="513668" y="582727"/>
                  </a:lnTo>
                  <a:lnTo>
                    <a:pt x="541029" y="553251"/>
                  </a:lnTo>
                  <a:lnTo>
                    <a:pt x="560222" y="523387"/>
                  </a:lnTo>
                  <a:lnTo>
                    <a:pt x="302242" y="523387"/>
                  </a:lnTo>
                  <a:lnTo>
                    <a:pt x="255484" y="520055"/>
                  </a:lnTo>
                  <a:lnTo>
                    <a:pt x="216342" y="509936"/>
                  </a:lnTo>
                  <a:lnTo>
                    <a:pt x="160906" y="469336"/>
                  </a:lnTo>
                  <a:lnTo>
                    <a:pt x="136168" y="411323"/>
                  </a:lnTo>
                  <a:lnTo>
                    <a:pt x="129984" y="371884"/>
                  </a:lnTo>
                  <a:lnTo>
                    <a:pt x="127922" y="325487"/>
                  </a:lnTo>
                  <a:lnTo>
                    <a:pt x="129984" y="279090"/>
                  </a:lnTo>
                  <a:lnTo>
                    <a:pt x="136168" y="239651"/>
                  </a:lnTo>
                  <a:lnTo>
                    <a:pt x="160906" y="181638"/>
                  </a:lnTo>
                  <a:lnTo>
                    <a:pt x="216342" y="140065"/>
                  </a:lnTo>
                  <a:lnTo>
                    <a:pt x="255484" y="129670"/>
                  </a:lnTo>
                  <a:lnTo>
                    <a:pt x="302242" y="126205"/>
                  </a:lnTo>
                  <a:lnTo>
                    <a:pt x="560419" y="126205"/>
                  </a:lnTo>
                  <a:lnTo>
                    <a:pt x="541656" y="96840"/>
                  </a:lnTo>
                  <a:lnTo>
                    <a:pt x="514295" y="67250"/>
                  </a:lnTo>
                  <a:lnTo>
                    <a:pt x="481917" y="43040"/>
                  </a:lnTo>
                  <a:lnTo>
                    <a:pt x="444523" y="24210"/>
                  </a:lnTo>
                  <a:lnTo>
                    <a:pt x="402113" y="10760"/>
                  </a:lnTo>
                  <a:lnTo>
                    <a:pt x="354685" y="2690"/>
                  </a:lnTo>
                  <a:lnTo>
                    <a:pt x="302242" y="0"/>
                  </a:lnTo>
                  <a:close/>
                </a:path>
                <a:path w="603250" h="650239">
                  <a:moveTo>
                    <a:pt x="560419" y="126205"/>
                  </a:moveTo>
                  <a:lnTo>
                    <a:pt x="302242" y="126205"/>
                  </a:lnTo>
                  <a:lnTo>
                    <a:pt x="348993" y="129670"/>
                  </a:lnTo>
                  <a:lnTo>
                    <a:pt x="388132" y="140065"/>
                  </a:lnTo>
                  <a:lnTo>
                    <a:pt x="443567" y="181638"/>
                  </a:lnTo>
                  <a:lnTo>
                    <a:pt x="468305" y="239706"/>
                  </a:lnTo>
                  <a:lnTo>
                    <a:pt x="474489" y="279132"/>
                  </a:lnTo>
                  <a:lnTo>
                    <a:pt x="476550" y="325487"/>
                  </a:lnTo>
                  <a:lnTo>
                    <a:pt x="474489" y="371626"/>
                  </a:lnTo>
                  <a:lnTo>
                    <a:pt x="468305" y="410982"/>
                  </a:lnTo>
                  <a:lnTo>
                    <a:pt x="443567" y="469336"/>
                  </a:lnTo>
                  <a:lnTo>
                    <a:pt x="388132" y="509818"/>
                  </a:lnTo>
                  <a:lnTo>
                    <a:pt x="348993" y="519967"/>
                  </a:lnTo>
                  <a:lnTo>
                    <a:pt x="302242" y="523387"/>
                  </a:lnTo>
                  <a:lnTo>
                    <a:pt x="560222" y="523387"/>
                  </a:lnTo>
                  <a:lnTo>
                    <a:pt x="580829" y="478222"/>
                  </a:lnTo>
                  <a:lnTo>
                    <a:pt x="593267" y="432669"/>
                  </a:lnTo>
                  <a:lnTo>
                    <a:pt x="600729" y="381758"/>
                  </a:lnTo>
                  <a:lnTo>
                    <a:pt x="603217" y="325487"/>
                  </a:lnTo>
                  <a:lnTo>
                    <a:pt x="600937" y="268998"/>
                  </a:lnTo>
                  <a:lnTo>
                    <a:pt x="593641" y="217889"/>
                  </a:lnTo>
                  <a:lnTo>
                    <a:pt x="581329" y="172160"/>
                  </a:lnTo>
                  <a:lnTo>
                    <a:pt x="564001" y="131810"/>
                  </a:lnTo>
                  <a:lnTo>
                    <a:pt x="560419" y="126205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3" name="object 19">
              <a:extLst>
                <a:ext uri="{FF2B5EF4-FFF2-40B4-BE49-F238E27FC236}">
                  <a16:creationId xmlns:a16="http://schemas.microsoft.com/office/drawing/2014/main" xmlns="" id="{84828F82-1AB8-45F0-6CD5-F9580AC906BF}"/>
                </a:ext>
              </a:extLst>
            </p:cNvPr>
            <p:cNvSpPr/>
            <p:nvPr/>
          </p:nvSpPr>
          <p:spPr>
            <a:xfrm>
              <a:off x="13984650" y="2332580"/>
              <a:ext cx="603250" cy="650240"/>
            </a:xfrm>
            <a:custGeom>
              <a:avLst/>
              <a:gdLst/>
              <a:ahLst/>
              <a:cxnLst/>
              <a:rect l="l" t="t" r="r" b="b"/>
              <a:pathLst>
                <a:path w="603250" h="650239">
                  <a:moveTo>
                    <a:pt x="302242" y="0"/>
                  </a:moveTo>
                  <a:lnTo>
                    <a:pt x="249785" y="2690"/>
                  </a:lnTo>
                  <a:lnTo>
                    <a:pt x="202324" y="10760"/>
                  </a:lnTo>
                  <a:lnTo>
                    <a:pt x="159860" y="24210"/>
                  </a:lnTo>
                  <a:lnTo>
                    <a:pt x="122392" y="43040"/>
                  </a:lnTo>
                  <a:lnTo>
                    <a:pt x="89920" y="67250"/>
                  </a:lnTo>
                  <a:lnTo>
                    <a:pt x="62444" y="96840"/>
                  </a:lnTo>
                  <a:lnTo>
                    <a:pt x="39964" y="131810"/>
                  </a:lnTo>
                  <a:lnTo>
                    <a:pt x="22479" y="172160"/>
                  </a:lnTo>
                  <a:lnTo>
                    <a:pt x="9990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0" y="649718"/>
                  </a:lnTo>
                  <a:lnTo>
                    <a:pt x="126666" y="649718"/>
                  </a:lnTo>
                  <a:lnTo>
                    <a:pt x="126666" y="325487"/>
                  </a:lnTo>
                  <a:lnTo>
                    <a:pt x="128727" y="279241"/>
                  </a:lnTo>
                  <a:lnTo>
                    <a:pt x="134912" y="239910"/>
                  </a:lnTo>
                  <a:lnTo>
                    <a:pt x="159649" y="181983"/>
                  </a:lnTo>
                  <a:lnTo>
                    <a:pt x="216028" y="140584"/>
                  </a:lnTo>
                  <a:lnTo>
                    <a:pt x="255405" y="130232"/>
                  </a:lnTo>
                  <a:lnTo>
                    <a:pt x="302242" y="126781"/>
                  </a:lnTo>
                  <a:lnTo>
                    <a:pt x="348980" y="130195"/>
                  </a:lnTo>
                  <a:lnTo>
                    <a:pt x="388075" y="140439"/>
                  </a:lnTo>
                  <a:lnTo>
                    <a:pt x="443337" y="181418"/>
                  </a:lnTo>
                  <a:lnTo>
                    <a:pt x="467989" y="239281"/>
                  </a:lnTo>
                  <a:lnTo>
                    <a:pt x="474151" y="278629"/>
                  </a:lnTo>
                  <a:lnTo>
                    <a:pt x="476205" y="324922"/>
                  </a:lnTo>
                  <a:lnTo>
                    <a:pt x="476205" y="649718"/>
                  </a:lnTo>
                  <a:lnTo>
                    <a:pt x="603217" y="649718"/>
                  </a:lnTo>
                  <a:lnTo>
                    <a:pt x="603217" y="325487"/>
                  </a:lnTo>
                  <a:lnTo>
                    <a:pt x="600937" y="268998"/>
                  </a:lnTo>
                  <a:lnTo>
                    <a:pt x="593641" y="217889"/>
                  </a:lnTo>
                  <a:lnTo>
                    <a:pt x="581329" y="172160"/>
                  </a:lnTo>
                  <a:lnTo>
                    <a:pt x="564001" y="131810"/>
                  </a:lnTo>
                  <a:lnTo>
                    <a:pt x="541656" y="96840"/>
                  </a:lnTo>
                  <a:lnTo>
                    <a:pt x="514295" y="67250"/>
                  </a:lnTo>
                  <a:lnTo>
                    <a:pt x="481917" y="43040"/>
                  </a:lnTo>
                  <a:lnTo>
                    <a:pt x="444523" y="24210"/>
                  </a:lnTo>
                  <a:lnTo>
                    <a:pt x="402113" y="10760"/>
                  </a:lnTo>
                  <a:lnTo>
                    <a:pt x="354685" y="2690"/>
                  </a:lnTo>
                  <a:lnTo>
                    <a:pt x="302242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4" name="object 20">
              <a:extLst>
                <a:ext uri="{FF2B5EF4-FFF2-40B4-BE49-F238E27FC236}">
                  <a16:creationId xmlns:a16="http://schemas.microsoft.com/office/drawing/2014/main" xmlns="" id="{FFA87C55-79B8-04E5-C455-A88520B93DE1}"/>
                </a:ext>
              </a:extLst>
            </p:cNvPr>
            <p:cNvSpPr/>
            <p:nvPr/>
          </p:nvSpPr>
          <p:spPr>
            <a:xfrm>
              <a:off x="9591357" y="2333379"/>
              <a:ext cx="609600" cy="655955"/>
            </a:xfrm>
            <a:custGeom>
              <a:avLst/>
              <a:gdLst/>
              <a:ahLst/>
              <a:cxnLst/>
              <a:rect l="l" t="t" r="r" b="b"/>
              <a:pathLst>
                <a:path w="609600" h="655955">
                  <a:moveTo>
                    <a:pt x="305215" y="0"/>
                  </a:moveTo>
                  <a:lnTo>
                    <a:pt x="252243" y="2713"/>
                  </a:lnTo>
                  <a:lnTo>
                    <a:pt x="204316" y="10854"/>
                  </a:lnTo>
                  <a:lnTo>
                    <a:pt x="161434" y="24423"/>
                  </a:lnTo>
                  <a:lnTo>
                    <a:pt x="123598" y="43419"/>
                  </a:lnTo>
                  <a:lnTo>
                    <a:pt x="90806" y="67842"/>
                  </a:lnTo>
                  <a:lnTo>
                    <a:pt x="63059" y="97692"/>
                  </a:lnTo>
                  <a:lnTo>
                    <a:pt x="40358" y="132970"/>
                  </a:lnTo>
                  <a:lnTo>
                    <a:pt x="22701" y="173676"/>
                  </a:lnTo>
                  <a:lnTo>
                    <a:pt x="10089" y="219808"/>
                  </a:lnTo>
                  <a:lnTo>
                    <a:pt x="2522" y="271369"/>
                  </a:lnTo>
                  <a:lnTo>
                    <a:pt x="0" y="328356"/>
                  </a:lnTo>
                  <a:lnTo>
                    <a:pt x="0" y="655791"/>
                  </a:lnTo>
                  <a:lnTo>
                    <a:pt x="128037" y="655791"/>
                  </a:lnTo>
                  <a:lnTo>
                    <a:pt x="128037" y="327665"/>
                  </a:lnTo>
                  <a:lnTo>
                    <a:pt x="130114" y="281061"/>
                  </a:lnTo>
                  <a:lnTo>
                    <a:pt x="136344" y="241455"/>
                  </a:lnTo>
                  <a:lnTo>
                    <a:pt x="161251" y="183250"/>
                  </a:lnTo>
                  <a:lnTo>
                    <a:pt x="218159" y="141100"/>
                  </a:lnTo>
                  <a:lnTo>
                    <a:pt x="257935" y="130613"/>
                  </a:lnTo>
                  <a:lnTo>
                    <a:pt x="305215" y="127127"/>
                  </a:lnTo>
                  <a:lnTo>
                    <a:pt x="352429" y="130605"/>
                  </a:lnTo>
                  <a:lnTo>
                    <a:pt x="391999" y="141042"/>
                  </a:lnTo>
                  <a:lnTo>
                    <a:pt x="448038" y="182790"/>
                  </a:lnTo>
                  <a:lnTo>
                    <a:pt x="472941" y="241288"/>
                  </a:lnTo>
                  <a:lnTo>
                    <a:pt x="479166" y="280992"/>
                  </a:lnTo>
                  <a:lnTo>
                    <a:pt x="481241" y="327665"/>
                  </a:lnTo>
                  <a:lnTo>
                    <a:pt x="481241" y="655791"/>
                  </a:lnTo>
                  <a:lnTo>
                    <a:pt x="609059" y="655791"/>
                  </a:lnTo>
                  <a:lnTo>
                    <a:pt x="609059" y="328356"/>
                  </a:lnTo>
                  <a:lnTo>
                    <a:pt x="606774" y="271369"/>
                  </a:lnTo>
                  <a:lnTo>
                    <a:pt x="599422" y="219808"/>
                  </a:lnTo>
                  <a:lnTo>
                    <a:pt x="587003" y="173676"/>
                  </a:lnTo>
                  <a:lnTo>
                    <a:pt x="569516" y="132970"/>
                  </a:lnTo>
                  <a:lnTo>
                    <a:pt x="546962" y="97692"/>
                  </a:lnTo>
                  <a:lnTo>
                    <a:pt x="519340" y="67842"/>
                  </a:lnTo>
                  <a:lnTo>
                    <a:pt x="486651" y="43419"/>
                  </a:lnTo>
                  <a:lnTo>
                    <a:pt x="448894" y="24423"/>
                  </a:lnTo>
                  <a:lnTo>
                    <a:pt x="406069" y="10854"/>
                  </a:lnTo>
                  <a:lnTo>
                    <a:pt x="358176" y="2713"/>
                  </a:lnTo>
                  <a:lnTo>
                    <a:pt x="305215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5" name="object 21">
              <a:extLst>
                <a:ext uri="{FF2B5EF4-FFF2-40B4-BE49-F238E27FC236}">
                  <a16:creationId xmlns:a16="http://schemas.microsoft.com/office/drawing/2014/main" xmlns="" id="{575FF05D-69AB-0807-81EA-1CA915B336D1}"/>
                </a:ext>
              </a:extLst>
            </p:cNvPr>
            <p:cNvSpPr/>
            <p:nvPr/>
          </p:nvSpPr>
          <p:spPr>
            <a:xfrm>
              <a:off x="6943357" y="2332007"/>
              <a:ext cx="528320" cy="657225"/>
            </a:xfrm>
            <a:custGeom>
              <a:avLst/>
              <a:gdLst/>
              <a:ahLst/>
              <a:cxnLst/>
              <a:rect l="l" t="t" r="r" b="b"/>
              <a:pathLst>
                <a:path w="528320" h="657225">
                  <a:moveTo>
                    <a:pt x="517278" y="128498"/>
                  </a:moveTo>
                  <a:lnTo>
                    <a:pt x="263070" y="128498"/>
                  </a:lnTo>
                  <a:lnTo>
                    <a:pt x="304201" y="130045"/>
                  </a:lnTo>
                  <a:lnTo>
                    <a:pt x="337801" y="134685"/>
                  </a:lnTo>
                  <a:lnTo>
                    <a:pt x="382407" y="153241"/>
                  </a:lnTo>
                  <a:lnTo>
                    <a:pt x="400165" y="196077"/>
                  </a:lnTo>
                  <a:lnTo>
                    <a:pt x="399917" y="208245"/>
                  </a:lnTo>
                  <a:lnTo>
                    <a:pt x="364330" y="250187"/>
                  </a:lnTo>
                  <a:lnTo>
                    <a:pt x="304662" y="262560"/>
                  </a:lnTo>
                  <a:lnTo>
                    <a:pt x="263531" y="264107"/>
                  </a:lnTo>
                  <a:lnTo>
                    <a:pt x="206487" y="266888"/>
                  </a:lnTo>
                  <a:lnTo>
                    <a:pt x="156204" y="275334"/>
                  </a:lnTo>
                  <a:lnTo>
                    <a:pt x="112684" y="289443"/>
                  </a:lnTo>
                  <a:lnTo>
                    <a:pt x="75924" y="309215"/>
                  </a:lnTo>
                  <a:lnTo>
                    <a:pt x="45925" y="334649"/>
                  </a:lnTo>
                  <a:lnTo>
                    <a:pt x="10824" y="393209"/>
                  </a:lnTo>
                  <a:lnTo>
                    <a:pt x="215" y="459033"/>
                  </a:lnTo>
                  <a:lnTo>
                    <a:pt x="171" y="461546"/>
                  </a:lnTo>
                  <a:lnTo>
                    <a:pt x="2244" y="495015"/>
                  </a:lnTo>
                  <a:lnTo>
                    <a:pt x="25472" y="558891"/>
                  </a:lnTo>
                  <a:lnTo>
                    <a:pt x="75774" y="612009"/>
                  </a:lnTo>
                  <a:lnTo>
                    <a:pt x="112460" y="631764"/>
                  </a:lnTo>
                  <a:lnTo>
                    <a:pt x="155983" y="645874"/>
                  </a:lnTo>
                  <a:lnTo>
                    <a:pt x="206340" y="654341"/>
                  </a:lnTo>
                  <a:lnTo>
                    <a:pt x="263531" y="657163"/>
                  </a:lnTo>
                  <a:lnTo>
                    <a:pt x="325562" y="654087"/>
                  </a:lnTo>
                  <a:lnTo>
                    <a:pt x="379324" y="644859"/>
                  </a:lnTo>
                  <a:lnTo>
                    <a:pt x="424814" y="629478"/>
                  </a:lnTo>
                  <a:lnTo>
                    <a:pt x="462034" y="607946"/>
                  </a:lnTo>
                  <a:lnTo>
                    <a:pt x="490983" y="580261"/>
                  </a:lnTo>
                  <a:lnTo>
                    <a:pt x="511661" y="546423"/>
                  </a:lnTo>
                  <a:lnTo>
                    <a:pt x="516852" y="529690"/>
                  </a:lnTo>
                  <a:lnTo>
                    <a:pt x="263531" y="529690"/>
                  </a:lnTo>
                  <a:lnTo>
                    <a:pt x="222901" y="528123"/>
                  </a:lnTo>
                  <a:lnTo>
                    <a:pt x="163802" y="515585"/>
                  </a:lnTo>
                  <a:lnTo>
                    <a:pt x="131596" y="484819"/>
                  </a:lnTo>
                  <a:lnTo>
                    <a:pt x="128169" y="461546"/>
                  </a:lnTo>
                  <a:lnTo>
                    <a:pt x="128208" y="459033"/>
                  </a:lnTo>
                  <a:lnTo>
                    <a:pt x="145335" y="417222"/>
                  </a:lnTo>
                  <a:lnTo>
                    <a:pt x="189657" y="399359"/>
                  </a:lnTo>
                  <a:lnTo>
                    <a:pt x="263531" y="393401"/>
                  </a:lnTo>
                  <a:lnTo>
                    <a:pt x="298222" y="392762"/>
                  </a:lnTo>
                  <a:lnTo>
                    <a:pt x="332677" y="389228"/>
                  </a:lnTo>
                  <a:lnTo>
                    <a:pt x="366717" y="382829"/>
                  </a:lnTo>
                  <a:lnTo>
                    <a:pt x="400165" y="373590"/>
                  </a:lnTo>
                  <a:lnTo>
                    <a:pt x="528088" y="373590"/>
                  </a:lnTo>
                  <a:lnTo>
                    <a:pt x="528088" y="195617"/>
                  </a:lnTo>
                  <a:lnTo>
                    <a:pt x="523928" y="149768"/>
                  </a:lnTo>
                  <a:lnTo>
                    <a:pt x="517278" y="128498"/>
                  </a:lnTo>
                  <a:close/>
                </a:path>
                <a:path w="528320" h="657225">
                  <a:moveTo>
                    <a:pt x="528088" y="373590"/>
                  </a:moveTo>
                  <a:lnTo>
                    <a:pt x="400165" y="373590"/>
                  </a:lnTo>
                  <a:lnTo>
                    <a:pt x="400165" y="460980"/>
                  </a:lnTo>
                  <a:lnTo>
                    <a:pt x="399705" y="461546"/>
                  </a:lnTo>
                  <a:lnTo>
                    <a:pt x="382407" y="505303"/>
                  </a:lnTo>
                  <a:lnTo>
                    <a:pt x="337572" y="523595"/>
                  </a:lnTo>
                  <a:lnTo>
                    <a:pt x="263531" y="529690"/>
                  </a:lnTo>
                  <a:lnTo>
                    <a:pt x="516852" y="529690"/>
                  </a:lnTo>
                  <a:lnTo>
                    <a:pt x="524068" y="506432"/>
                  </a:lnTo>
                  <a:lnTo>
                    <a:pt x="528091" y="461546"/>
                  </a:lnTo>
                  <a:lnTo>
                    <a:pt x="528088" y="373590"/>
                  </a:lnTo>
                  <a:close/>
                </a:path>
                <a:path w="528320" h="657225">
                  <a:moveTo>
                    <a:pt x="263416" y="0"/>
                  </a:moveTo>
                  <a:lnTo>
                    <a:pt x="206371" y="2803"/>
                  </a:lnTo>
                  <a:lnTo>
                    <a:pt x="156089" y="11213"/>
                  </a:lnTo>
                  <a:lnTo>
                    <a:pt x="112568" y="25231"/>
                  </a:lnTo>
                  <a:lnTo>
                    <a:pt x="75809" y="44857"/>
                  </a:lnTo>
                  <a:lnTo>
                    <a:pt x="45810" y="70092"/>
                  </a:lnTo>
                  <a:lnTo>
                    <a:pt x="10571" y="128600"/>
                  </a:lnTo>
                  <a:lnTo>
                    <a:pt x="0" y="196077"/>
                  </a:lnTo>
                  <a:lnTo>
                    <a:pt x="128153" y="196077"/>
                  </a:lnTo>
                  <a:lnTo>
                    <a:pt x="128592" y="184074"/>
                  </a:lnTo>
                  <a:lnTo>
                    <a:pt x="131722" y="172641"/>
                  </a:lnTo>
                  <a:lnTo>
                    <a:pt x="163172" y="142417"/>
                  </a:lnTo>
                  <a:lnTo>
                    <a:pt x="222039" y="130045"/>
                  </a:lnTo>
                  <a:lnTo>
                    <a:pt x="263070" y="128498"/>
                  </a:lnTo>
                  <a:lnTo>
                    <a:pt x="517278" y="128498"/>
                  </a:lnTo>
                  <a:lnTo>
                    <a:pt x="511504" y="110033"/>
                  </a:lnTo>
                  <a:lnTo>
                    <a:pt x="490816" y="76411"/>
                  </a:lnTo>
                  <a:lnTo>
                    <a:pt x="461864" y="48902"/>
                  </a:lnTo>
                  <a:lnTo>
                    <a:pt x="424647" y="27507"/>
                  </a:lnTo>
                  <a:lnTo>
                    <a:pt x="379167" y="12225"/>
                  </a:lnTo>
                  <a:lnTo>
                    <a:pt x="325423" y="3056"/>
                  </a:lnTo>
                  <a:lnTo>
                    <a:pt x="26341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6" name="object 22">
              <a:extLst>
                <a:ext uri="{FF2B5EF4-FFF2-40B4-BE49-F238E27FC236}">
                  <a16:creationId xmlns:a16="http://schemas.microsoft.com/office/drawing/2014/main" xmlns="" id="{D7016388-49A9-A8AB-88CD-ED0FA11AA5EE}"/>
                </a:ext>
              </a:extLst>
            </p:cNvPr>
            <p:cNvSpPr/>
            <p:nvPr/>
          </p:nvSpPr>
          <p:spPr>
            <a:xfrm>
              <a:off x="7570053" y="2074088"/>
              <a:ext cx="609600" cy="915669"/>
            </a:xfrm>
            <a:custGeom>
              <a:avLst/>
              <a:gdLst/>
              <a:ahLst/>
              <a:cxnLst/>
              <a:rect l="l" t="t" r="r" b="b"/>
              <a:pathLst>
                <a:path w="609600" h="915669">
                  <a:moveTo>
                    <a:pt x="128048" y="0"/>
                  </a:moveTo>
                  <a:lnTo>
                    <a:pt x="0" y="0"/>
                  </a:lnTo>
                  <a:lnTo>
                    <a:pt x="46" y="588107"/>
                  </a:lnTo>
                  <a:lnTo>
                    <a:pt x="2323" y="643905"/>
                  </a:lnTo>
                  <a:lnTo>
                    <a:pt x="9710" y="695429"/>
                  </a:lnTo>
                  <a:lnTo>
                    <a:pt x="22162" y="741530"/>
                  </a:lnTo>
                  <a:lnTo>
                    <a:pt x="39677" y="782207"/>
                  </a:lnTo>
                  <a:lnTo>
                    <a:pt x="62256" y="817460"/>
                  </a:lnTo>
                  <a:lnTo>
                    <a:pt x="89899" y="847289"/>
                  </a:lnTo>
                  <a:lnTo>
                    <a:pt x="122606" y="871695"/>
                  </a:lnTo>
                  <a:lnTo>
                    <a:pt x="160377" y="890677"/>
                  </a:lnTo>
                  <a:lnTo>
                    <a:pt x="203212" y="904235"/>
                  </a:lnTo>
                  <a:lnTo>
                    <a:pt x="251218" y="912375"/>
                  </a:lnTo>
                  <a:lnTo>
                    <a:pt x="304074" y="915082"/>
                  </a:lnTo>
                  <a:lnTo>
                    <a:pt x="357078" y="912370"/>
                  </a:lnTo>
                  <a:lnTo>
                    <a:pt x="405043" y="904235"/>
                  </a:lnTo>
                  <a:lnTo>
                    <a:pt x="447855" y="890726"/>
                  </a:lnTo>
                  <a:lnTo>
                    <a:pt x="485692" y="871784"/>
                  </a:lnTo>
                  <a:lnTo>
                    <a:pt x="518483" y="847429"/>
                  </a:lnTo>
                  <a:lnTo>
                    <a:pt x="546230" y="817661"/>
                  </a:lnTo>
                  <a:lnTo>
                    <a:pt x="565623" y="787609"/>
                  </a:lnTo>
                  <a:lnTo>
                    <a:pt x="304074" y="787609"/>
                  </a:lnTo>
                  <a:lnTo>
                    <a:pt x="256794" y="784109"/>
                  </a:lnTo>
                  <a:lnTo>
                    <a:pt x="217232" y="773608"/>
                  </a:lnTo>
                  <a:lnTo>
                    <a:pt x="161262" y="731611"/>
                  </a:lnTo>
                  <a:lnTo>
                    <a:pt x="136350" y="673285"/>
                  </a:lnTo>
                  <a:lnTo>
                    <a:pt x="130123" y="633880"/>
                  </a:lnTo>
                  <a:lnTo>
                    <a:pt x="128069" y="588107"/>
                  </a:lnTo>
                  <a:lnTo>
                    <a:pt x="128048" y="386417"/>
                  </a:lnTo>
                  <a:lnTo>
                    <a:pt x="565107" y="386417"/>
                  </a:lnTo>
                  <a:lnTo>
                    <a:pt x="546284" y="357121"/>
                  </a:lnTo>
                  <a:lnTo>
                    <a:pt x="518538" y="327229"/>
                  </a:lnTo>
                  <a:lnTo>
                    <a:pt x="485742" y="302771"/>
                  </a:lnTo>
                  <a:lnTo>
                    <a:pt x="447898" y="283748"/>
                  </a:lnTo>
                  <a:lnTo>
                    <a:pt x="405006" y="270160"/>
                  </a:lnTo>
                  <a:lnTo>
                    <a:pt x="357064" y="262008"/>
                  </a:lnTo>
                  <a:lnTo>
                    <a:pt x="304074" y="259290"/>
                  </a:lnTo>
                  <a:lnTo>
                    <a:pt x="128048" y="259290"/>
                  </a:lnTo>
                  <a:lnTo>
                    <a:pt x="128048" y="0"/>
                  </a:lnTo>
                  <a:close/>
                </a:path>
                <a:path w="609600" h="915669">
                  <a:moveTo>
                    <a:pt x="565107" y="386417"/>
                  </a:moveTo>
                  <a:lnTo>
                    <a:pt x="304074" y="386417"/>
                  </a:lnTo>
                  <a:lnTo>
                    <a:pt x="351338" y="389869"/>
                  </a:lnTo>
                  <a:lnTo>
                    <a:pt x="391087" y="400334"/>
                  </a:lnTo>
                  <a:lnTo>
                    <a:pt x="448038" y="442311"/>
                  </a:lnTo>
                  <a:lnTo>
                    <a:pt x="472946" y="500980"/>
                  </a:lnTo>
                  <a:lnTo>
                    <a:pt x="479175" y="540814"/>
                  </a:lnTo>
                  <a:lnTo>
                    <a:pt x="481221" y="586955"/>
                  </a:lnTo>
                  <a:lnTo>
                    <a:pt x="481232" y="588107"/>
                  </a:lnTo>
                  <a:lnTo>
                    <a:pt x="479218" y="633880"/>
                  </a:lnTo>
                  <a:lnTo>
                    <a:pt x="473005" y="673285"/>
                  </a:lnTo>
                  <a:lnTo>
                    <a:pt x="448038" y="731611"/>
                  </a:lnTo>
                  <a:lnTo>
                    <a:pt x="391201" y="773608"/>
                  </a:lnTo>
                  <a:lnTo>
                    <a:pt x="351425" y="784109"/>
                  </a:lnTo>
                  <a:lnTo>
                    <a:pt x="304074" y="787609"/>
                  </a:lnTo>
                  <a:lnTo>
                    <a:pt x="565623" y="787609"/>
                  </a:lnTo>
                  <a:lnTo>
                    <a:pt x="586588" y="741891"/>
                  </a:lnTo>
                  <a:lnTo>
                    <a:pt x="599200" y="695888"/>
                  </a:lnTo>
                  <a:lnTo>
                    <a:pt x="606767" y="644473"/>
                  </a:lnTo>
                  <a:lnTo>
                    <a:pt x="609269" y="588107"/>
                  </a:lnTo>
                  <a:lnTo>
                    <a:pt x="609239" y="586955"/>
                  </a:lnTo>
                  <a:lnTo>
                    <a:pt x="606786" y="531041"/>
                  </a:lnTo>
                  <a:lnTo>
                    <a:pt x="599233" y="479409"/>
                  </a:lnTo>
                  <a:lnTo>
                    <a:pt x="586632" y="433211"/>
                  </a:lnTo>
                  <a:lnTo>
                    <a:pt x="568982" y="392449"/>
                  </a:lnTo>
                  <a:lnTo>
                    <a:pt x="565107" y="386417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7" name="object 23">
              <a:extLst>
                <a:ext uri="{FF2B5EF4-FFF2-40B4-BE49-F238E27FC236}">
                  <a16:creationId xmlns:a16="http://schemas.microsoft.com/office/drawing/2014/main" xmlns="" id="{FF6028BC-FBEF-91A8-7EB4-4FFBB667194E}"/>
                </a:ext>
              </a:extLst>
            </p:cNvPr>
            <p:cNvSpPr/>
            <p:nvPr/>
          </p:nvSpPr>
          <p:spPr>
            <a:xfrm>
              <a:off x="8244171" y="2333379"/>
              <a:ext cx="593725" cy="655955"/>
            </a:xfrm>
            <a:custGeom>
              <a:avLst/>
              <a:gdLst/>
              <a:ahLst/>
              <a:cxnLst/>
              <a:rect l="l" t="t" r="r" b="b"/>
              <a:pathLst>
                <a:path w="593725" h="655955">
                  <a:moveTo>
                    <a:pt x="304524" y="0"/>
                  </a:moveTo>
                  <a:lnTo>
                    <a:pt x="251672" y="2438"/>
                  </a:lnTo>
                  <a:lnTo>
                    <a:pt x="203854" y="10336"/>
                  </a:lnTo>
                  <a:lnTo>
                    <a:pt x="161069" y="23694"/>
                  </a:lnTo>
                  <a:lnTo>
                    <a:pt x="123318" y="42511"/>
                  </a:lnTo>
                  <a:lnTo>
                    <a:pt x="90600" y="66788"/>
                  </a:lnTo>
                  <a:lnTo>
                    <a:pt x="62917" y="96524"/>
                  </a:lnTo>
                  <a:lnTo>
                    <a:pt x="40266" y="131720"/>
                  </a:lnTo>
                  <a:lnTo>
                    <a:pt x="22650" y="172376"/>
                  </a:lnTo>
                  <a:lnTo>
                    <a:pt x="10066" y="218491"/>
                  </a:lnTo>
                  <a:lnTo>
                    <a:pt x="2516" y="270065"/>
                  </a:lnTo>
                  <a:lnTo>
                    <a:pt x="0" y="327099"/>
                  </a:lnTo>
                  <a:lnTo>
                    <a:pt x="2512" y="384144"/>
                  </a:lnTo>
                  <a:lnTo>
                    <a:pt x="10051" y="435757"/>
                  </a:lnTo>
                  <a:lnTo>
                    <a:pt x="22615" y="481936"/>
                  </a:lnTo>
                  <a:lnTo>
                    <a:pt x="40205" y="522683"/>
                  </a:lnTo>
                  <a:lnTo>
                    <a:pt x="62820" y="557997"/>
                  </a:lnTo>
                  <a:lnTo>
                    <a:pt x="90462" y="587878"/>
                  </a:lnTo>
                  <a:lnTo>
                    <a:pt x="123130" y="612327"/>
                  </a:lnTo>
                  <a:lnTo>
                    <a:pt x="160824" y="631342"/>
                  </a:lnTo>
                  <a:lnTo>
                    <a:pt x="203544" y="644925"/>
                  </a:lnTo>
                  <a:lnTo>
                    <a:pt x="251291" y="653075"/>
                  </a:lnTo>
                  <a:lnTo>
                    <a:pt x="304064" y="655791"/>
                  </a:lnTo>
                  <a:lnTo>
                    <a:pt x="360244" y="652634"/>
                  </a:lnTo>
                  <a:lnTo>
                    <a:pt x="410705" y="643216"/>
                  </a:lnTo>
                  <a:lnTo>
                    <a:pt x="455447" y="627539"/>
                  </a:lnTo>
                  <a:lnTo>
                    <a:pt x="494470" y="605601"/>
                  </a:lnTo>
                  <a:lnTo>
                    <a:pt x="527773" y="577404"/>
                  </a:lnTo>
                  <a:lnTo>
                    <a:pt x="555356" y="542947"/>
                  </a:lnTo>
                  <a:lnTo>
                    <a:pt x="577220" y="502230"/>
                  </a:lnTo>
                  <a:lnTo>
                    <a:pt x="593364" y="455253"/>
                  </a:lnTo>
                  <a:lnTo>
                    <a:pt x="458331" y="455253"/>
                  </a:lnTo>
                  <a:lnTo>
                    <a:pt x="434418" y="487219"/>
                  </a:lnTo>
                  <a:lnTo>
                    <a:pt x="400813" y="510052"/>
                  </a:lnTo>
                  <a:lnTo>
                    <a:pt x="357516" y="523752"/>
                  </a:lnTo>
                  <a:lnTo>
                    <a:pt x="304524" y="528318"/>
                  </a:lnTo>
                  <a:lnTo>
                    <a:pt x="257244" y="524818"/>
                  </a:lnTo>
                  <a:lnTo>
                    <a:pt x="217683" y="514318"/>
                  </a:lnTo>
                  <a:lnTo>
                    <a:pt x="161712" y="472320"/>
                  </a:lnTo>
                  <a:lnTo>
                    <a:pt x="136855" y="413736"/>
                  </a:lnTo>
                  <a:lnTo>
                    <a:pt x="130615" y="373924"/>
                  </a:lnTo>
                  <a:lnTo>
                    <a:pt x="128498" y="327099"/>
                  </a:lnTo>
                  <a:lnTo>
                    <a:pt x="130528" y="280261"/>
                  </a:lnTo>
                  <a:lnTo>
                    <a:pt x="136741" y="240425"/>
                  </a:lnTo>
                  <a:lnTo>
                    <a:pt x="161712" y="181764"/>
                  </a:lnTo>
                  <a:lnTo>
                    <a:pt x="217742" y="140784"/>
                  </a:lnTo>
                  <a:lnTo>
                    <a:pt x="257290" y="130541"/>
                  </a:lnTo>
                  <a:lnTo>
                    <a:pt x="304524" y="127127"/>
                  </a:lnTo>
                  <a:lnTo>
                    <a:pt x="358030" y="131615"/>
                  </a:lnTo>
                  <a:lnTo>
                    <a:pt x="401500" y="145079"/>
                  </a:lnTo>
                  <a:lnTo>
                    <a:pt x="434935" y="167519"/>
                  </a:lnTo>
                  <a:lnTo>
                    <a:pt x="458331" y="198936"/>
                  </a:lnTo>
                  <a:lnTo>
                    <a:pt x="593364" y="198936"/>
                  </a:lnTo>
                  <a:lnTo>
                    <a:pt x="577327" y="152310"/>
                  </a:lnTo>
                  <a:lnTo>
                    <a:pt x="555557" y="111901"/>
                  </a:lnTo>
                  <a:lnTo>
                    <a:pt x="528052" y="77709"/>
                  </a:lnTo>
                  <a:lnTo>
                    <a:pt x="494814" y="49734"/>
                  </a:lnTo>
                  <a:lnTo>
                    <a:pt x="455842" y="27975"/>
                  </a:lnTo>
                  <a:lnTo>
                    <a:pt x="411137" y="12433"/>
                  </a:lnTo>
                  <a:lnTo>
                    <a:pt x="360697" y="3108"/>
                  </a:lnTo>
                  <a:lnTo>
                    <a:pt x="304524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8" name="object 24">
              <a:extLst>
                <a:ext uri="{FF2B5EF4-FFF2-40B4-BE49-F238E27FC236}">
                  <a16:creationId xmlns:a16="http://schemas.microsoft.com/office/drawing/2014/main" xmlns="" id="{0436441E-A5A3-7AFA-284B-DDB36C05D4A4}"/>
                </a:ext>
              </a:extLst>
            </p:cNvPr>
            <p:cNvSpPr/>
            <p:nvPr/>
          </p:nvSpPr>
          <p:spPr>
            <a:xfrm>
              <a:off x="8887124" y="2333379"/>
              <a:ext cx="609600" cy="655955"/>
            </a:xfrm>
            <a:custGeom>
              <a:avLst/>
              <a:gdLst/>
              <a:ahLst/>
              <a:cxnLst/>
              <a:rect l="l" t="t" r="r" b="b"/>
              <a:pathLst>
                <a:path w="609600" h="655955">
                  <a:moveTo>
                    <a:pt x="305446" y="0"/>
                  </a:moveTo>
                  <a:lnTo>
                    <a:pt x="252412" y="2717"/>
                  </a:lnTo>
                  <a:lnTo>
                    <a:pt x="204424" y="10870"/>
                  </a:lnTo>
                  <a:lnTo>
                    <a:pt x="161490" y="24458"/>
                  </a:lnTo>
                  <a:lnTo>
                    <a:pt x="123694" y="43419"/>
                  </a:lnTo>
                  <a:lnTo>
                    <a:pt x="90877" y="67842"/>
                  </a:lnTo>
                  <a:lnTo>
                    <a:pt x="63109" y="97692"/>
                  </a:lnTo>
                  <a:lnTo>
                    <a:pt x="40390" y="132970"/>
                  </a:lnTo>
                  <a:lnTo>
                    <a:pt x="22719" y="173676"/>
                  </a:lnTo>
                  <a:lnTo>
                    <a:pt x="10097" y="219808"/>
                  </a:lnTo>
                  <a:lnTo>
                    <a:pt x="2524" y="271369"/>
                  </a:lnTo>
                  <a:lnTo>
                    <a:pt x="0" y="328356"/>
                  </a:lnTo>
                  <a:lnTo>
                    <a:pt x="2731" y="385183"/>
                  </a:lnTo>
                  <a:lnTo>
                    <a:pt x="10468" y="436598"/>
                  </a:lnTo>
                  <a:lnTo>
                    <a:pt x="23210" y="482601"/>
                  </a:lnTo>
                  <a:lnTo>
                    <a:pt x="40958" y="523192"/>
                  </a:lnTo>
                  <a:lnTo>
                    <a:pt x="63711" y="558371"/>
                  </a:lnTo>
                  <a:lnTo>
                    <a:pt x="91469" y="588138"/>
                  </a:lnTo>
                  <a:lnTo>
                    <a:pt x="124232" y="612493"/>
                  </a:lnTo>
                  <a:lnTo>
                    <a:pt x="162000" y="631436"/>
                  </a:lnTo>
                  <a:lnTo>
                    <a:pt x="204772" y="644966"/>
                  </a:lnTo>
                  <a:lnTo>
                    <a:pt x="252549" y="653085"/>
                  </a:lnTo>
                  <a:lnTo>
                    <a:pt x="305331" y="655791"/>
                  </a:lnTo>
                  <a:lnTo>
                    <a:pt x="358104" y="653085"/>
                  </a:lnTo>
                  <a:lnTo>
                    <a:pt x="405851" y="644966"/>
                  </a:lnTo>
                  <a:lnTo>
                    <a:pt x="448572" y="631436"/>
                  </a:lnTo>
                  <a:lnTo>
                    <a:pt x="486267" y="612493"/>
                  </a:lnTo>
                  <a:lnTo>
                    <a:pt x="518937" y="588138"/>
                  </a:lnTo>
                  <a:lnTo>
                    <a:pt x="546580" y="558371"/>
                  </a:lnTo>
                  <a:lnTo>
                    <a:pt x="565753" y="528549"/>
                  </a:lnTo>
                  <a:lnTo>
                    <a:pt x="305331" y="528549"/>
                  </a:lnTo>
                  <a:lnTo>
                    <a:pt x="258139" y="525086"/>
                  </a:lnTo>
                  <a:lnTo>
                    <a:pt x="218607" y="514807"/>
                  </a:lnTo>
                  <a:lnTo>
                    <a:pt x="162518" y="473807"/>
                  </a:lnTo>
                  <a:lnTo>
                    <a:pt x="137543" y="415167"/>
                  </a:lnTo>
                  <a:lnTo>
                    <a:pt x="131337" y="375370"/>
                  </a:lnTo>
                  <a:lnTo>
                    <a:pt x="129314" y="328817"/>
                  </a:lnTo>
                  <a:lnTo>
                    <a:pt x="129315" y="328356"/>
                  </a:lnTo>
                  <a:lnTo>
                    <a:pt x="131423" y="281750"/>
                  </a:lnTo>
                  <a:lnTo>
                    <a:pt x="137665" y="241916"/>
                  </a:lnTo>
                  <a:lnTo>
                    <a:pt x="162518" y="183250"/>
                  </a:lnTo>
                  <a:lnTo>
                    <a:pt x="218692" y="141218"/>
                  </a:lnTo>
                  <a:lnTo>
                    <a:pt x="258246" y="130680"/>
                  </a:lnTo>
                  <a:lnTo>
                    <a:pt x="305446" y="127127"/>
                  </a:lnTo>
                  <a:lnTo>
                    <a:pt x="566093" y="127127"/>
                  </a:lnTo>
                  <a:lnTo>
                    <a:pt x="547376" y="97831"/>
                  </a:lnTo>
                  <a:lnTo>
                    <a:pt x="519734" y="67938"/>
                  </a:lnTo>
                  <a:lnTo>
                    <a:pt x="487020" y="43480"/>
                  </a:lnTo>
                  <a:lnTo>
                    <a:pt x="449234" y="24458"/>
                  </a:lnTo>
                  <a:lnTo>
                    <a:pt x="406377" y="10870"/>
                  </a:lnTo>
                  <a:lnTo>
                    <a:pt x="358371" y="2713"/>
                  </a:lnTo>
                  <a:lnTo>
                    <a:pt x="305446" y="0"/>
                  </a:lnTo>
                  <a:close/>
                </a:path>
                <a:path w="609600" h="655955">
                  <a:moveTo>
                    <a:pt x="566093" y="127127"/>
                  </a:moveTo>
                  <a:lnTo>
                    <a:pt x="305446" y="127127"/>
                  </a:lnTo>
                  <a:lnTo>
                    <a:pt x="352631" y="130578"/>
                  </a:lnTo>
                  <a:lnTo>
                    <a:pt x="392145" y="141044"/>
                  </a:lnTo>
                  <a:lnTo>
                    <a:pt x="448153" y="183020"/>
                  </a:lnTo>
                  <a:lnTo>
                    <a:pt x="473061" y="241690"/>
                  </a:lnTo>
                  <a:lnTo>
                    <a:pt x="479290" y="281524"/>
                  </a:lnTo>
                  <a:lnTo>
                    <a:pt x="481367" y="328356"/>
                  </a:lnTo>
                  <a:lnTo>
                    <a:pt x="479284" y="375411"/>
                  </a:lnTo>
                  <a:lnTo>
                    <a:pt x="473044" y="415222"/>
                  </a:lnTo>
                  <a:lnTo>
                    <a:pt x="448153" y="473807"/>
                  </a:lnTo>
                  <a:lnTo>
                    <a:pt x="392060" y="514921"/>
                  </a:lnTo>
                  <a:lnTo>
                    <a:pt x="352524" y="525170"/>
                  </a:lnTo>
                  <a:lnTo>
                    <a:pt x="305331" y="528549"/>
                  </a:lnTo>
                  <a:lnTo>
                    <a:pt x="565753" y="528549"/>
                  </a:lnTo>
                  <a:lnTo>
                    <a:pt x="586788" y="482601"/>
                  </a:lnTo>
                  <a:lnTo>
                    <a:pt x="599353" y="436598"/>
                  </a:lnTo>
                  <a:lnTo>
                    <a:pt x="606892" y="385183"/>
                  </a:lnTo>
                  <a:lnTo>
                    <a:pt x="609385" y="328817"/>
                  </a:lnTo>
                  <a:lnTo>
                    <a:pt x="609502" y="328356"/>
                  </a:lnTo>
                  <a:lnTo>
                    <a:pt x="607233" y="271750"/>
                  </a:lnTo>
                  <a:lnTo>
                    <a:pt x="599876" y="220118"/>
                  </a:lnTo>
                  <a:lnTo>
                    <a:pt x="587447" y="173921"/>
                  </a:lnTo>
                  <a:lnTo>
                    <a:pt x="569947" y="133158"/>
                  </a:lnTo>
                  <a:lnTo>
                    <a:pt x="566093" y="127127"/>
                  </a:lnTo>
                  <a:close/>
                </a:path>
                <a:path w="609600" h="655955">
                  <a:moveTo>
                    <a:pt x="609502" y="328356"/>
                  </a:moveTo>
                  <a:lnTo>
                    <a:pt x="609520" y="328817"/>
                  </a:lnTo>
                  <a:lnTo>
                    <a:pt x="609502" y="328356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grpSp>
          <p:nvGrpSpPr>
            <p:cNvPr id="49" name="object 25">
              <a:extLst>
                <a:ext uri="{FF2B5EF4-FFF2-40B4-BE49-F238E27FC236}">
                  <a16:creationId xmlns:a16="http://schemas.microsoft.com/office/drawing/2014/main" xmlns="" id="{90AA7A4F-C286-5651-687E-8D670028ECC6}"/>
                </a:ext>
              </a:extLst>
            </p:cNvPr>
            <p:cNvGrpSpPr/>
            <p:nvPr/>
          </p:nvGrpSpPr>
          <p:grpSpPr>
            <a:xfrm>
              <a:off x="5516224" y="1909393"/>
              <a:ext cx="1198880" cy="1238250"/>
              <a:chOff x="5516224" y="1909393"/>
              <a:chExt cx="1198880" cy="1238250"/>
            </a:xfrm>
          </p:grpSpPr>
          <p:sp>
            <p:nvSpPr>
              <p:cNvPr id="50" name="object 26">
                <a:extLst>
                  <a:ext uri="{FF2B5EF4-FFF2-40B4-BE49-F238E27FC236}">
                    <a16:creationId xmlns:a16="http://schemas.microsoft.com/office/drawing/2014/main" xmlns="" id="{56D05705-BD07-BE66-BE21-C4B5FBD75AFF}"/>
                  </a:ext>
                </a:extLst>
              </p:cNvPr>
              <p:cNvSpPr/>
              <p:nvPr/>
            </p:nvSpPr>
            <p:spPr>
              <a:xfrm>
                <a:off x="5531218" y="2347384"/>
                <a:ext cx="1060450" cy="629920"/>
              </a:xfrm>
              <a:custGeom>
                <a:avLst/>
                <a:gdLst/>
                <a:ahLst/>
                <a:cxnLst/>
                <a:rect l="l" t="t" r="r" b="b"/>
                <a:pathLst>
                  <a:path w="1060450" h="629919">
                    <a:moveTo>
                      <a:pt x="400850" y="629767"/>
                    </a:moveTo>
                    <a:lnTo>
                      <a:pt x="355193" y="613117"/>
                    </a:lnTo>
                    <a:lnTo>
                      <a:pt x="310984" y="593521"/>
                    </a:lnTo>
                    <a:lnTo>
                      <a:pt x="268376" y="571068"/>
                    </a:lnTo>
                    <a:lnTo>
                      <a:pt x="227482" y="545884"/>
                    </a:lnTo>
                    <a:lnTo>
                      <a:pt x="188442" y="518045"/>
                    </a:lnTo>
                    <a:lnTo>
                      <a:pt x="151358" y="487680"/>
                    </a:lnTo>
                    <a:lnTo>
                      <a:pt x="116382" y="454875"/>
                    </a:lnTo>
                    <a:lnTo>
                      <a:pt x="83629" y="419747"/>
                    </a:lnTo>
                    <a:lnTo>
                      <a:pt x="53238" y="382384"/>
                    </a:lnTo>
                    <a:lnTo>
                      <a:pt x="25311" y="342900"/>
                    </a:lnTo>
                    <a:lnTo>
                      <a:pt x="0" y="301409"/>
                    </a:lnTo>
                    <a:lnTo>
                      <a:pt x="8026" y="321119"/>
                    </a:lnTo>
                    <a:lnTo>
                      <a:pt x="30365" y="363207"/>
                    </a:lnTo>
                    <a:lnTo>
                      <a:pt x="55968" y="402945"/>
                    </a:lnTo>
                    <a:lnTo>
                      <a:pt x="84620" y="440182"/>
                    </a:lnTo>
                    <a:lnTo>
                      <a:pt x="116141" y="474764"/>
                    </a:lnTo>
                    <a:lnTo>
                      <a:pt x="150342" y="506539"/>
                    </a:lnTo>
                    <a:lnTo>
                      <a:pt x="187020" y="535368"/>
                    </a:lnTo>
                    <a:lnTo>
                      <a:pt x="225983" y="561073"/>
                    </a:lnTo>
                    <a:lnTo>
                      <a:pt x="267042" y="583514"/>
                    </a:lnTo>
                    <a:lnTo>
                      <a:pt x="310007" y="602551"/>
                    </a:lnTo>
                    <a:lnTo>
                      <a:pt x="354672" y="618020"/>
                    </a:lnTo>
                    <a:lnTo>
                      <a:pt x="400850" y="629767"/>
                    </a:lnTo>
                    <a:close/>
                  </a:path>
                  <a:path w="1060450" h="629919">
                    <a:moveTo>
                      <a:pt x="1059942" y="290334"/>
                    </a:moveTo>
                    <a:lnTo>
                      <a:pt x="1055471" y="245808"/>
                    </a:lnTo>
                    <a:lnTo>
                      <a:pt x="1044270" y="202488"/>
                    </a:lnTo>
                    <a:lnTo>
                      <a:pt x="1026490" y="161201"/>
                    </a:lnTo>
                    <a:lnTo>
                      <a:pt x="1002296" y="122783"/>
                    </a:lnTo>
                    <a:lnTo>
                      <a:pt x="971829" y="88074"/>
                    </a:lnTo>
                    <a:lnTo>
                      <a:pt x="934440" y="57353"/>
                    </a:lnTo>
                    <a:lnTo>
                      <a:pt x="894638" y="32372"/>
                    </a:lnTo>
                    <a:lnTo>
                      <a:pt x="852487" y="14566"/>
                    </a:lnTo>
                    <a:lnTo>
                      <a:pt x="808824" y="3822"/>
                    </a:lnTo>
                    <a:lnTo>
                      <a:pt x="764451" y="0"/>
                    </a:lnTo>
                    <a:lnTo>
                      <a:pt x="720229" y="3009"/>
                    </a:lnTo>
                    <a:lnTo>
                      <a:pt x="676973" y="12712"/>
                    </a:lnTo>
                    <a:lnTo>
                      <a:pt x="635520" y="28981"/>
                    </a:lnTo>
                    <a:lnTo>
                      <a:pt x="596709" y="51714"/>
                    </a:lnTo>
                    <a:lnTo>
                      <a:pt x="561365" y="80784"/>
                    </a:lnTo>
                    <a:lnTo>
                      <a:pt x="530326" y="116052"/>
                    </a:lnTo>
                    <a:lnTo>
                      <a:pt x="505345" y="155854"/>
                    </a:lnTo>
                    <a:lnTo>
                      <a:pt x="487540" y="198005"/>
                    </a:lnTo>
                    <a:lnTo>
                      <a:pt x="476783" y="241668"/>
                    </a:lnTo>
                    <a:lnTo>
                      <a:pt x="472973" y="286042"/>
                    </a:lnTo>
                    <a:lnTo>
                      <a:pt x="475983" y="330263"/>
                    </a:lnTo>
                    <a:lnTo>
                      <a:pt x="485686" y="373519"/>
                    </a:lnTo>
                    <a:lnTo>
                      <a:pt x="501954" y="414959"/>
                    </a:lnTo>
                    <a:lnTo>
                      <a:pt x="524687" y="453771"/>
                    </a:lnTo>
                    <a:lnTo>
                      <a:pt x="553745" y="489115"/>
                    </a:lnTo>
                    <a:lnTo>
                      <a:pt x="589026" y="520153"/>
                    </a:lnTo>
                    <a:lnTo>
                      <a:pt x="635584" y="545744"/>
                    </a:lnTo>
                    <a:lnTo>
                      <a:pt x="684911" y="563816"/>
                    </a:lnTo>
                    <a:lnTo>
                      <a:pt x="736117" y="574243"/>
                    </a:lnTo>
                    <a:lnTo>
                      <a:pt x="788301" y="576948"/>
                    </a:lnTo>
                    <a:lnTo>
                      <a:pt x="840587" y="571779"/>
                    </a:lnTo>
                    <a:lnTo>
                      <a:pt x="892060" y="558647"/>
                    </a:lnTo>
                    <a:lnTo>
                      <a:pt x="956208" y="518922"/>
                    </a:lnTo>
                    <a:lnTo>
                      <a:pt x="1007618" y="463702"/>
                    </a:lnTo>
                    <a:lnTo>
                      <a:pt x="1031532" y="422732"/>
                    </a:lnTo>
                    <a:lnTo>
                      <a:pt x="1048118" y="379628"/>
                    </a:lnTo>
                    <a:lnTo>
                      <a:pt x="1057541" y="335216"/>
                    </a:lnTo>
                    <a:lnTo>
                      <a:pt x="1059942" y="290334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 sz="1801"/>
              </a:p>
            </p:txBody>
          </p:sp>
          <p:sp>
            <p:nvSpPr>
              <p:cNvPr id="51" name="object 27">
                <a:extLst>
                  <a:ext uri="{FF2B5EF4-FFF2-40B4-BE49-F238E27FC236}">
                    <a16:creationId xmlns:a16="http://schemas.microsoft.com/office/drawing/2014/main" xmlns="" id="{13C4BDA5-1517-90A6-50BE-EF26E5BA877D}"/>
                  </a:ext>
                </a:extLst>
              </p:cNvPr>
              <p:cNvSpPr/>
              <p:nvPr/>
            </p:nvSpPr>
            <p:spPr>
              <a:xfrm>
                <a:off x="5516224" y="2762522"/>
                <a:ext cx="979169" cy="385445"/>
              </a:xfrm>
              <a:custGeom>
                <a:avLst/>
                <a:gdLst/>
                <a:ahLst/>
                <a:cxnLst/>
                <a:rect l="l" t="t" r="r" b="b"/>
                <a:pathLst>
                  <a:path w="979170" h="385444">
                    <a:moveTo>
                      <a:pt x="0" y="0"/>
                    </a:moveTo>
                    <a:lnTo>
                      <a:pt x="20290" y="42896"/>
                    </a:lnTo>
                    <a:lnTo>
                      <a:pt x="43336" y="83581"/>
                    </a:lnTo>
                    <a:lnTo>
                      <a:pt x="68975" y="121990"/>
                    </a:lnTo>
                    <a:lnTo>
                      <a:pt x="97047" y="158058"/>
                    </a:lnTo>
                    <a:lnTo>
                      <a:pt x="127391" y="191722"/>
                    </a:lnTo>
                    <a:lnTo>
                      <a:pt x="159844" y="222916"/>
                    </a:lnTo>
                    <a:lnTo>
                      <a:pt x="194246" y="251577"/>
                    </a:lnTo>
                    <a:lnTo>
                      <a:pt x="230435" y="277639"/>
                    </a:lnTo>
                    <a:lnTo>
                      <a:pt x="268250" y="301038"/>
                    </a:lnTo>
                    <a:lnTo>
                      <a:pt x="307529" y="321710"/>
                    </a:lnTo>
                    <a:lnTo>
                      <a:pt x="348112" y="339590"/>
                    </a:lnTo>
                    <a:lnTo>
                      <a:pt x="389837" y="354614"/>
                    </a:lnTo>
                    <a:lnTo>
                      <a:pt x="432542" y="366717"/>
                    </a:lnTo>
                    <a:lnTo>
                      <a:pt x="476066" y="375835"/>
                    </a:lnTo>
                    <a:lnTo>
                      <a:pt x="520248" y="381903"/>
                    </a:lnTo>
                    <a:lnTo>
                      <a:pt x="564927" y="384857"/>
                    </a:lnTo>
                    <a:lnTo>
                      <a:pt x="609941" y="384632"/>
                    </a:lnTo>
                    <a:lnTo>
                      <a:pt x="655129" y="381164"/>
                    </a:lnTo>
                    <a:lnTo>
                      <a:pt x="700330" y="374388"/>
                    </a:lnTo>
                    <a:lnTo>
                      <a:pt x="745381" y="364240"/>
                    </a:lnTo>
                    <a:lnTo>
                      <a:pt x="790123" y="350656"/>
                    </a:lnTo>
                    <a:lnTo>
                      <a:pt x="834393" y="333570"/>
                    </a:lnTo>
                    <a:lnTo>
                      <a:pt x="872602" y="315661"/>
                    </a:lnTo>
                    <a:lnTo>
                      <a:pt x="909498" y="295278"/>
                    </a:lnTo>
                    <a:lnTo>
                      <a:pt x="944961" y="272493"/>
                    </a:lnTo>
                    <a:lnTo>
                      <a:pt x="978870" y="247374"/>
                    </a:lnTo>
                    <a:lnTo>
                      <a:pt x="933713" y="271527"/>
                    </a:lnTo>
                    <a:lnTo>
                      <a:pt x="887254" y="292284"/>
                    </a:lnTo>
                    <a:lnTo>
                      <a:pt x="839681" y="309625"/>
                    </a:lnTo>
                    <a:lnTo>
                      <a:pt x="791180" y="323530"/>
                    </a:lnTo>
                    <a:lnTo>
                      <a:pt x="741940" y="333981"/>
                    </a:lnTo>
                    <a:lnTo>
                      <a:pt x="692146" y="340958"/>
                    </a:lnTo>
                    <a:lnTo>
                      <a:pt x="641987" y="344440"/>
                    </a:lnTo>
                    <a:lnTo>
                      <a:pt x="591649" y="344410"/>
                    </a:lnTo>
                    <a:lnTo>
                      <a:pt x="541320" y="340846"/>
                    </a:lnTo>
                    <a:lnTo>
                      <a:pt x="491188" y="333731"/>
                    </a:lnTo>
                    <a:lnTo>
                      <a:pt x="441438" y="323044"/>
                    </a:lnTo>
                    <a:lnTo>
                      <a:pt x="392260" y="308765"/>
                    </a:lnTo>
                    <a:lnTo>
                      <a:pt x="346148" y="296935"/>
                    </a:lnTo>
                    <a:lnTo>
                      <a:pt x="301551" y="281403"/>
                    </a:lnTo>
                    <a:lnTo>
                      <a:pt x="258660" y="262321"/>
                    </a:lnTo>
                    <a:lnTo>
                      <a:pt x="217668" y="239840"/>
                    </a:lnTo>
                    <a:lnTo>
                      <a:pt x="178765" y="214111"/>
                    </a:lnTo>
                    <a:lnTo>
                      <a:pt x="142146" y="185285"/>
                    </a:lnTo>
                    <a:lnTo>
                      <a:pt x="108000" y="153514"/>
                    </a:lnTo>
                    <a:lnTo>
                      <a:pt x="76521" y="118949"/>
                    </a:lnTo>
                    <a:lnTo>
                      <a:pt x="47899" y="81741"/>
                    </a:lnTo>
                    <a:lnTo>
                      <a:pt x="22328" y="420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 sz="1801"/>
              </a:p>
            </p:txBody>
          </p:sp>
          <p:sp>
            <p:nvSpPr>
              <p:cNvPr id="52" name="object 28">
                <a:extLst>
                  <a:ext uri="{FF2B5EF4-FFF2-40B4-BE49-F238E27FC236}">
                    <a16:creationId xmlns:a16="http://schemas.microsoft.com/office/drawing/2014/main" xmlns="" id="{4C3E3E5D-061A-640B-CA28-C3ADED3F2E08}"/>
                  </a:ext>
                </a:extLst>
              </p:cNvPr>
              <p:cNvSpPr/>
              <p:nvPr/>
            </p:nvSpPr>
            <p:spPr>
              <a:xfrm>
                <a:off x="5586902" y="1909393"/>
                <a:ext cx="1128395" cy="1124585"/>
              </a:xfrm>
              <a:custGeom>
                <a:avLst/>
                <a:gdLst/>
                <a:ahLst/>
                <a:cxnLst/>
                <a:rect l="l" t="t" r="r" b="b"/>
                <a:pathLst>
                  <a:path w="1128395" h="1124585">
                    <a:moveTo>
                      <a:pt x="559054" y="0"/>
                    </a:moveTo>
                    <a:lnTo>
                      <a:pt x="512772" y="2314"/>
                    </a:lnTo>
                    <a:lnTo>
                      <a:pt x="467133" y="8390"/>
                    </a:lnTo>
                    <a:lnTo>
                      <a:pt x="422354" y="18120"/>
                    </a:lnTo>
                    <a:lnTo>
                      <a:pt x="378650" y="31401"/>
                    </a:lnTo>
                    <a:lnTo>
                      <a:pt x="336175" y="48155"/>
                    </a:lnTo>
                    <a:lnTo>
                      <a:pt x="295324" y="68190"/>
                    </a:lnTo>
                    <a:lnTo>
                      <a:pt x="256132" y="91488"/>
                    </a:lnTo>
                    <a:lnTo>
                      <a:pt x="218874" y="117914"/>
                    </a:lnTo>
                    <a:lnTo>
                      <a:pt x="183766" y="147363"/>
                    </a:lnTo>
                    <a:lnTo>
                      <a:pt x="151021" y="179730"/>
                    </a:lnTo>
                    <a:lnTo>
                      <a:pt x="120855" y="214909"/>
                    </a:lnTo>
                    <a:lnTo>
                      <a:pt x="93483" y="252794"/>
                    </a:lnTo>
                    <a:lnTo>
                      <a:pt x="69120" y="293281"/>
                    </a:lnTo>
                    <a:lnTo>
                      <a:pt x="47981" y="336264"/>
                    </a:lnTo>
                    <a:lnTo>
                      <a:pt x="30280" y="381638"/>
                    </a:lnTo>
                    <a:lnTo>
                      <a:pt x="16284" y="429292"/>
                    </a:lnTo>
                    <a:lnTo>
                      <a:pt x="6627" y="477360"/>
                    </a:lnTo>
                    <a:lnTo>
                      <a:pt x="1226" y="525589"/>
                    </a:lnTo>
                    <a:lnTo>
                      <a:pt x="0" y="573726"/>
                    </a:lnTo>
                    <a:lnTo>
                      <a:pt x="2865" y="621518"/>
                    </a:lnTo>
                    <a:lnTo>
                      <a:pt x="9741" y="668710"/>
                    </a:lnTo>
                    <a:lnTo>
                      <a:pt x="20545" y="715051"/>
                    </a:lnTo>
                    <a:lnTo>
                      <a:pt x="35195" y="760285"/>
                    </a:lnTo>
                    <a:lnTo>
                      <a:pt x="53609" y="804161"/>
                    </a:lnTo>
                    <a:lnTo>
                      <a:pt x="75705" y="846424"/>
                    </a:lnTo>
                    <a:lnTo>
                      <a:pt x="101401" y="886822"/>
                    </a:lnTo>
                    <a:lnTo>
                      <a:pt x="130616" y="925100"/>
                    </a:lnTo>
                    <a:lnTo>
                      <a:pt x="163266" y="961006"/>
                    </a:lnTo>
                    <a:lnTo>
                      <a:pt x="199270" y="994286"/>
                    </a:lnTo>
                    <a:lnTo>
                      <a:pt x="238546" y="1024686"/>
                    </a:lnTo>
                    <a:lnTo>
                      <a:pt x="297385" y="1061172"/>
                    </a:lnTo>
                    <a:lnTo>
                      <a:pt x="360291" y="1090088"/>
                    </a:lnTo>
                    <a:lnTo>
                      <a:pt x="410968" y="1105086"/>
                    </a:lnTo>
                    <a:lnTo>
                      <a:pt x="462493" y="1115779"/>
                    </a:lnTo>
                    <a:lnTo>
                      <a:pt x="514596" y="1122156"/>
                    </a:lnTo>
                    <a:lnTo>
                      <a:pt x="567005" y="1124206"/>
                    </a:lnTo>
                    <a:lnTo>
                      <a:pt x="619447" y="1121919"/>
                    </a:lnTo>
                    <a:lnTo>
                      <a:pt x="671652" y="1115282"/>
                    </a:lnTo>
                    <a:lnTo>
                      <a:pt x="723348" y="1104286"/>
                    </a:lnTo>
                    <a:lnTo>
                      <a:pt x="722887" y="1104286"/>
                    </a:lnTo>
                    <a:lnTo>
                      <a:pt x="768964" y="1083274"/>
                    </a:lnTo>
                    <a:lnTo>
                      <a:pt x="813274" y="1059150"/>
                    </a:lnTo>
                    <a:lnTo>
                      <a:pt x="855671" y="1032032"/>
                    </a:lnTo>
                    <a:lnTo>
                      <a:pt x="862350" y="1027066"/>
                    </a:lnTo>
                    <a:lnTo>
                      <a:pt x="617067" y="1027066"/>
                    </a:lnTo>
                    <a:lnTo>
                      <a:pt x="572256" y="1023952"/>
                    </a:lnTo>
                    <a:lnTo>
                      <a:pt x="527702" y="1016472"/>
                    </a:lnTo>
                    <a:lnTo>
                      <a:pt x="483730" y="1004570"/>
                    </a:lnTo>
                    <a:lnTo>
                      <a:pt x="440668" y="988189"/>
                    </a:lnTo>
                    <a:lnTo>
                      <a:pt x="398841" y="967273"/>
                    </a:lnTo>
                    <a:lnTo>
                      <a:pt x="358574" y="941767"/>
                    </a:lnTo>
                    <a:lnTo>
                      <a:pt x="321066" y="912324"/>
                    </a:lnTo>
                    <a:lnTo>
                      <a:pt x="287366" y="879873"/>
                    </a:lnTo>
                    <a:lnTo>
                      <a:pt x="257532" y="844742"/>
                    </a:lnTo>
                    <a:lnTo>
                      <a:pt x="231618" y="807256"/>
                    </a:lnTo>
                    <a:lnTo>
                      <a:pt x="209681" y="767743"/>
                    </a:lnTo>
                    <a:lnTo>
                      <a:pt x="191777" y="726528"/>
                    </a:lnTo>
                    <a:lnTo>
                      <a:pt x="177962" y="683938"/>
                    </a:lnTo>
                    <a:lnTo>
                      <a:pt x="168293" y="640299"/>
                    </a:lnTo>
                    <a:lnTo>
                      <a:pt x="162825" y="595937"/>
                    </a:lnTo>
                    <a:lnTo>
                      <a:pt x="161615" y="551179"/>
                    </a:lnTo>
                    <a:lnTo>
                      <a:pt x="164719" y="506351"/>
                    </a:lnTo>
                    <a:lnTo>
                      <a:pt x="172193" y="461780"/>
                    </a:lnTo>
                    <a:lnTo>
                      <a:pt x="184093" y="417791"/>
                    </a:lnTo>
                    <a:lnTo>
                      <a:pt x="200476" y="374711"/>
                    </a:lnTo>
                    <a:lnTo>
                      <a:pt x="221397" y="332866"/>
                    </a:lnTo>
                    <a:lnTo>
                      <a:pt x="246912" y="292583"/>
                    </a:lnTo>
                    <a:lnTo>
                      <a:pt x="276356" y="255075"/>
                    </a:lnTo>
                    <a:lnTo>
                      <a:pt x="308807" y="221376"/>
                    </a:lnTo>
                    <a:lnTo>
                      <a:pt x="343938" y="191542"/>
                    </a:lnTo>
                    <a:lnTo>
                      <a:pt x="381424" y="165628"/>
                    </a:lnTo>
                    <a:lnTo>
                      <a:pt x="420937" y="143692"/>
                    </a:lnTo>
                    <a:lnTo>
                      <a:pt x="462152" y="125789"/>
                    </a:lnTo>
                    <a:lnTo>
                      <a:pt x="504743" y="111975"/>
                    </a:lnTo>
                    <a:lnTo>
                      <a:pt x="548382" y="102306"/>
                    </a:lnTo>
                    <a:lnTo>
                      <a:pt x="592744" y="96839"/>
                    </a:lnTo>
                    <a:lnTo>
                      <a:pt x="637503" y="95629"/>
                    </a:lnTo>
                    <a:lnTo>
                      <a:pt x="877901" y="95629"/>
                    </a:lnTo>
                    <a:lnTo>
                      <a:pt x="875172" y="93657"/>
                    </a:lnTo>
                    <a:lnTo>
                      <a:pt x="834685" y="69295"/>
                    </a:lnTo>
                    <a:lnTo>
                      <a:pt x="791628" y="48126"/>
                    </a:lnTo>
                    <a:lnTo>
                      <a:pt x="746332" y="30455"/>
                    </a:lnTo>
                    <a:lnTo>
                      <a:pt x="699620" y="16673"/>
                    </a:lnTo>
                    <a:lnTo>
                      <a:pt x="652694" y="7074"/>
                    </a:lnTo>
                    <a:lnTo>
                      <a:pt x="605767" y="1551"/>
                    </a:lnTo>
                    <a:lnTo>
                      <a:pt x="559054" y="0"/>
                    </a:lnTo>
                    <a:close/>
                  </a:path>
                  <a:path w="1128395" h="1124585">
                    <a:moveTo>
                      <a:pt x="877901" y="95629"/>
                    </a:moveTo>
                    <a:lnTo>
                      <a:pt x="637503" y="95629"/>
                    </a:lnTo>
                    <a:lnTo>
                      <a:pt x="682332" y="98733"/>
                    </a:lnTo>
                    <a:lnTo>
                      <a:pt x="726905" y="106207"/>
                    </a:lnTo>
                    <a:lnTo>
                      <a:pt x="770895" y="118106"/>
                    </a:lnTo>
                    <a:lnTo>
                      <a:pt x="813976" y="134488"/>
                    </a:lnTo>
                    <a:lnTo>
                      <a:pt x="855822" y="155408"/>
                    </a:lnTo>
                    <a:lnTo>
                      <a:pt x="896107" y="180922"/>
                    </a:lnTo>
                    <a:lnTo>
                      <a:pt x="933615" y="210365"/>
                    </a:lnTo>
                    <a:lnTo>
                      <a:pt x="967314" y="242816"/>
                    </a:lnTo>
                    <a:lnTo>
                      <a:pt x="997148" y="277947"/>
                    </a:lnTo>
                    <a:lnTo>
                      <a:pt x="1023062" y="315433"/>
                    </a:lnTo>
                    <a:lnTo>
                      <a:pt x="1044998" y="354946"/>
                    </a:lnTo>
                    <a:lnTo>
                      <a:pt x="1062901" y="396161"/>
                    </a:lnTo>
                    <a:lnTo>
                      <a:pt x="1076715" y="438752"/>
                    </a:lnTo>
                    <a:lnTo>
                      <a:pt x="1086383" y="482391"/>
                    </a:lnTo>
                    <a:lnTo>
                      <a:pt x="1091850" y="526754"/>
                    </a:lnTo>
                    <a:lnTo>
                      <a:pt x="1093059" y="571512"/>
                    </a:lnTo>
                    <a:lnTo>
                      <a:pt x="1089954" y="616341"/>
                    </a:lnTo>
                    <a:lnTo>
                      <a:pt x="1082479" y="660914"/>
                    </a:lnTo>
                    <a:lnTo>
                      <a:pt x="1070578" y="704904"/>
                    </a:lnTo>
                    <a:lnTo>
                      <a:pt x="1054195" y="747985"/>
                    </a:lnTo>
                    <a:lnTo>
                      <a:pt x="1033274" y="789832"/>
                    </a:lnTo>
                    <a:lnTo>
                      <a:pt x="1007758" y="830116"/>
                    </a:lnTo>
                    <a:lnTo>
                      <a:pt x="978148" y="867813"/>
                    </a:lnTo>
                    <a:lnTo>
                      <a:pt x="945692" y="901483"/>
                    </a:lnTo>
                    <a:lnTo>
                      <a:pt x="910559" y="931290"/>
                    </a:lnTo>
                    <a:lnTo>
                      <a:pt x="873076" y="957177"/>
                    </a:lnTo>
                    <a:lnTo>
                      <a:pt x="833568" y="979089"/>
                    </a:lnTo>
                    <a:lnTo>
                      <a:pt x="792362" y="996970"/>
                    </a:lnTo>
                    <a:lnTo>
                      <a:pt x="749782" y="1010764"/>
                    </a:lnTo>
                    <a:lnTo>
                      <a:pt x="706156" y="1020416"/>
                    </a:lnTo>
                    <a:lnTo>
                      <a:pt x="661809" y="1025868"/>
                    </a:lnTo>
                    <a:lnTo>
                      <a:pt x="617067" y="1027066"/>
                    </a:lnTo>
                    <a:lnTo>
                      <a:pt x="862350" y="1027066"/>
                    </a:lnTo>
                    <a:lnTo>
                      <a:pt x="896009" y="1002037"/>
                    </a:lnTo>
                    <a:lnTo>
                      <a:pt x="934140" y="969283"/>
                    </a:lnTo>
                    <a:lnTo>
                      <a:pt x="969919" y="933888"/>
                    </a:lnTo>
                    <a:lnTo>
                      <a:pt x="1003198" y="895969"/>
                    </a:lnTo>
                    <a:lnTo>
                      <a:pt x="1033831" y="855644"/>
                    </a:lnTo>
                    <a:lnTo>
                      <a:pt x="1068055" y="802465"/>
                    </a:lnTo>
                    <a:lnTo>
                      <a:pt x="1097504" y="746506"/>
                    </a:lnTo>
                    <a:lnTo>
                      <a:pt x="1111287" y="699794"/>
                    </a:lnTo>
                    <a:lnTo>
                      <a:pt x="1120888" y="652866"/>
                    </a:lnTo>
                    <a:lnTo>
                      <a:pt x="1126412" y="605938"/>
                    </a:lnTo>
                    <a:lnTo>
                      <a:pt x="1127964" y="559225"/>
                    </a:lnTo>
                    <a:lnTo>
                      <a:pt x="1125650" y="512942"/>
                    </a:lnTo>
                    <a:lnTo>
                      <a:pt x="1119574" y="467303"/>
                    </a:lnTo>
                    <a:lnTo>
                      <a:pt x="1109844" y="422525"/>
                    </a:lnTo>
                    <a:lnTo>
                      <a:pt x="1096563" y="378820"/>
                    </a:lnTo>
                    <a:lnTo>
                      <a:pt x="1079769" y="336264"/>
                    </a:lnTo>
                    <a:lnTo>
                      <a:pt x="1059774" y="295495"/>
                    </a:lnTo>
                    <a:lnTo>
                      <a:pt x="1036476" y="256303"/>
                    </a:lnTo>
                    <a:lnTo>
                      <a:pt x="1010050" y="219046"/>
                    </a:lnTo>
                    <a:lnTo>
                      <a:pt x="980601" y="183938"/>
                    </a:lnTo>
                    <a:lnTo>
                      <a:pt x="948235" y="151194"/>
                    </a:lnTo>
                    <a:lnTo>
                      <a:pt x="913056" y="121029"/>
                    </a:lnTo>
                    <a:lnTo>
                      <a:pt x="877901" y="95629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 sz="1801"/>
              </a:p>
            </p:txBody>
          </p:sp>
          <p:sp>
            <p:nvSpPr>
              <p:cNvPr id="53" name="object 29">
                <a:extLst>
                  <a:ext uri="{FF2B5EF4-FFF2-40B4-BE49-F238E27FC236}">
                    <a16:creationId xmlns:a16="http://schemas.microsoft.com/office/drawing/2014/main" xmlns="" id="{96A89396-0B0F-9D1E-40CF-22CCB27407C5}"/>
                  </a:ext>
                </a:extLst>
              </p:cNvPr>
              <p:cNvSpPr/>
              <p:nvPr/>
            </p:nvSpPr>
            <p:spPr>
              <a:xfrm>
                <a:off x="5935642" y="2141146"/>
                <a:ext cx="767080" cy="762000"/>
              </a:xfrm>
              <a:custGeom>
                <a:avLst/>
                <a:gdLst/>
                <a:ahLst/>
                <a:cxnLst/>
                <a:rect l="l" t="t" r="r" b="b"/>
                <a:pathLst>
                  <a:path w="767079" h="762000">
                    <a:moveTo>
                      <a:pt x="383253" y="0"/>
                    </a:moveTo>
                    <a:lnTo>
                      <a:pt x="338054" y="2015"/>
                    </a:lnTo>
                    <a:lnTo>
                      <a:pt x="293541" y="9287"/>
                    </a:lnTo>
                    <a:lnTo>
                      <a:pt x="250212" y="21732"/>
                    </a:lnTo>
                    <a:lnTo>
                      <a:pt x="208568" y="39269"/>
                    </a:lnTo>
                    <a:lnTo>
                      <a:pt x="169106" y="61814"/>
                    </a:lnTo>
                    <a:lnTo>
                      <a:pt x="132328" y="89286"/>
                    </a:lnTo>
                    <a:lnTo>
                      <a:pt x="98731" y="121603"/>
                    </a:lnTo>
                    <a:lnTo>
                      <a:pt x="68815" y="158682"/>
                    </a:lnTo>
                    <a:lnTo>
                      <a:pt x="43793" y="199223"/>
                    </a:lnTo>
                    <a:lnTo>
                      <a:pt x="24486" y="241649"/>
                    </a:lnTo>
                    <a:lnTo>
                      <a:pt x="10810" y="285462"/>
                    </a:lnTo>
                    <a:lnTo>
                      <a:pt x="2676" y="330163"/>
                    </a:lnTo>
                    <a:lnTo>
                      <a:pt x="0" y="375256"/>
                    </a:lnTo>
                    <a:lnTo>
                      <a:pt x="2693" y="420242"/>
                    </a:lnTo>
                    <a:lnTo>
                      <a:pt x="10672" y="464623"/>
                    </a:lnTo>
                    <a:lnTo>
                      <a:pt x="23848" y="507902"/>
                    </a:lnTo>
                    <a:lnTo>
                      <a:pt x="42136" y="549579"/>
                    </a:lnTo>
                    <a:lnTo>
                      <a:pt x="65449" y="589157"/>
                    </a:lnTo>
                    <a:lnTo>
                      <a:pt x="93701" y="626139"/>
                    </a:lnTo>
                    <a:lnTo>
                      <a:pt x="126805" y="660026"/>
                    </a:lnTo>
                    <a:lnTo>
                      <a:pt x="164676" y="690320"/>
                    </a:lnTo>
                    <a:lnTo>
                      <a:pt x="205815" y="715795"/>
                    </a:lnTo>
                    <a:lnTo>
                      <a:pt x="248765" y="735610"/>
                    </a:lnTo>
                    <a:lnTo>
                      <a:pt x="293025" y="749847"/>
                    </a:lnTo>
                    <a:lnTo>
                      <a:pt x="338098" y="758588"/>
                    </a:lnTo>
                    <a:lnTo>
                      <a:pt x="383483" y="761914"/>
                    </a:lnTo>
                    <a:lnTo>
                      <a:pt x="428681" y="759907"/>
                    </a:lnTo>
                    <a:lnTo>
                      <a:pt x="472220" y="752808"/>
                    </a:lnTo>
                    <a:lnTo>
                      <a:pt x="378806" y="752808"/>
                    </a:lnTo>
                    <a:lnTo>
                      <a:pt x="328291" y="752173"/>
                    </a:lnTo>
                    <a:lnTo>
                      <a:pt x="278626" y="742921"/>
                    </a:lnTo>
                    <a:lnTo>
                      <a:pt x="230958" y="725167"/>
                    </a:lnTo>
                    <a:lnTo>
                      <a:pt x="186434" y="699021"/>
                    </a:lnTo>
                    <a:lnTo>
                      <a:pt x="178644" y="692844"/>
                    </a:lnTo>
                    <a:lnTo>
                      <a:pt x="171314" y="686886"/>
                    </a:lnTo>
                    <a:lnTo>
                      <a:pt x="125496" y="652450"/>
                    </a:lnTo>
                    <a:lnTo>
                      <a:pt x="93750" y="619182"/>
                    </a:lnTo>
                    <a:lnTo>
                      <a:pt x="67132" y="582621"/>
                    </a:lnTo>
                    <a:lnTo>
                      <a:pt x="45748" y="543339"/>
                    </a:lnTo>
                    <a:lnTo>
                      <a:pt x="29699" y="501911"/>
                    </a:lnTo>
                    <a:lnTo>
                      <a:pt x="19090" y="458911"/>
                    </a:lnTo>
                    <a:lnTo>
                      <a:pt x="14023" y="414912"/>
                    </a:lnTo>
                    <a:lnTo>
                      <a:pt x="14603" y="370488"/>
                    </a:lnTo>
                    <a:lnTo>
                      <a:pt x="20933" y="326213"/>
                    </a:lnTo>
                    <a:lnTo>
                      <a:pt x="33115" y="282661"/>
                    </a:lnTo>
                    <a:lnTo>
                      <a:pt x="51254" y="240405"/>
                    </a:lnTo>
                    <a:lnTo>
                      <a:pt x="75453" y="200021"/>
                    </a:lnTo>
                    <a:lnTo>
                      <a:pt x="104930" y="163819"/>
                    </a:lnTo>
                    <a:lnTo>
                      <a:pt x="138288" y="132692"/>
                    </a:lnTo>
                    <a:lnTo>
                      <a:pt x="174950" y="106734"/>
                    </a:lnTo>
                    <a:lnTo>
                      <a:pt x="214340" y="86037"/>
                    </a:lnTo>
                    <a:lnTo>
                      <a:pt x="255882" y="70696"/>
                    </a:lnTo>
                    <a:lnTo>
                      <a:pt x="299000" y="60804"/>
                    </a:lnTo>
                    <a:lnTo>
                      <a:pt x="343118" y="56454"/>
                    </a:lnTo>
                    <a:lnTo>
                      <a:pt x="577559" y="56454"/>
                    </a:lnTo>
                    <a:lnTo>
                      <a:pt x="560918" y="46140"/>
                    </a:lnTo>
                    <a:lnTo>
                      <a:pt x="517969" y="26310"/>
                    </a:lnTo>
                    <a:lnTo>
                      <a:pt x="473710" y="12064"/>
                    </a:lnTo>
                    <a:lnTo>
                      <a:pt x="428638" y="3322"/>
                    </a:lnTo>
                    <a:lnTo>
                      <a:pt x="383253" y="0"/>
                    </a:lnTo>
                    <a:close/>
                  </a:path>
                  <a:path w="767079" h="762000">
                    <a:moveTo>
                      <a:pt x="577559" y="56454"/>
                    </a:moveTo>
                    <a:lnTo>
                      <a:pt x="343118" y="56454"/>
                    </a:lnTo>
                    <a:lnTo>
                      <a:pt x="387659" y="57740"/>
                    </a:lnTo>
                    <a:lnTo>
                      <a:pt x="432048" y="64755"/>
                    </a:lnTo>
                    <a:lnTo>
                      <a:pt x="475709" y="77594"/>
                    </a:lnTo>
                    <a:lnTo>
                      <a:pt x="518064" y="96348"/>
                    </a:lnTo>
                    <a:lnTo>
                      <a:pt x="558538" y="121112"/>
                    </a:lnTo>
                    <a:lnTo>
                      <a:pt x="558308" y="121112"/>
                    </a:lnTo>
                    <a:lnTo>
                      <a:pt x="595165" y="151024"/>
                    </a:lnTo>
                    <a:lnTo>
                      <a:pt x="626983" y="184713"/>
                    </a:lnTo>
                    <a:lnTo>
                      <a:pt x="653660" y="221605"/>
                    </a:lnTo>
                    <a:lnTo>
                      <a:pt x="675090" y="261125"/>
                    </a:lnTo>
                    <a:lnTo>
                      <a:pt x="691171" y="302698"/>
                    </a:lnTo>
                    <a:lnTo>
                      <a:pt x="701798" y="345749"/>
                    </a:lnTo>
                    <a:lnTo>
                      <a:pt x="706869" y="389705"/>
                    </a:lnTo>
                    <a:lnTo>
                      <a:pt x="706278" y="433990"/>
                    </a:lnTo>
                    <a:lnTo>
                      <a:pt x="699924" y="478030"/>
                    </a:lnTo>
                    <a:lnTo>
                      <a:pt x="687701" y="521249"/>
                    </a:lnTo>
                    <a:lnTo>
                      <a:pt x="669507" y="563074"/>
                    </a:lnTo>
                    <a:lnTo>
                      <a:pt x="645237" y="602930"/>
                    </a:lnTo>
                    <a:lnTo>
                      <a:pt x="611173" y="643783"/>
                    </a:lnTo>
                    <a:lnTo>
                      <a:pt x="571389" y="678597"/>
                    </a:lnTo>
                    <a:lnTo>
                      <a:pt x="526668" y="706788"/>
                    </a:lnTo>
                    <a:lnTo>
                      <a:pt x="477797" y="727774"/>
                    </a:lnTo>
                    <a:lnTo>
                      <a:pt x="429024" y="744712"/>
                    </a:lnTo>
                    <a:lnTo>
                      <a:pt x="378806" y="752808"/>
                    </a:lnTo>
                    <a:lnTo>
                      <a:pt x="472220" y="752808"/>
                    </a:lnTo>
                    <a:lnTo>
                      <a:pt x="516522" y="740221"/>
                    </a:lnTo>
                    <a:lnTo>
                      <a:pt x="558165" y="722704"/>
                    </a:lnTo>
                    <a:lnTo>
                      <a:pt x="597626" y="700182"/>
                    </a:lnTo>
                    <a:lnTo>
                      <a:pt x="634404" y="672734"/>
                    </a:lnTo>
                    <a:lnTo>
                      <a:pt x="668000" y="640443"/>
                    </a:lnTo>
                    <a:lnTo>
                      <a:pt x="697916" y="603391"/>
                    </a:lnTo>
                    <a:lnTo>
                      <a:pt x="722927" y="562872"/>
                    </a:lnTo>
                    <a:lnTo>
                      <a:pt x="742204" y="520461"/>
                    </a:lnTo>
                    <a:lnTo>
                      <a:pt x="755838" y="476657"/>
                    </a:lnTo>
                    <a:lnTo>
                      <a:pt x="763921" y="431957"/>
                    </a:lnTo>
                    <a:lnTo>
                      <a:pt x="766546" y="386860"/>
                    </a:lnTo>
                    <a:lnTo>
                      <a:pt x="763803" y="341865"/>
                    </a:lnTo>
                    <a:lnTo>
                      <a:pt x="755786" y="297471"/>
                    </a:lnTo>
                    <a:lnTo>
                      <a:pt x="742586" y="254176"/>
                    </a:lnTo>
                    <a:lnTo>
                      <a:pt x="724294" y="212478"/>
                    </a:lnTo>
                    <a:lnTo>
                      <a:pt x="701004" y="172877"/>
                    </a:lnTo>
                    <a:lnTo>
                      <a:pt x="672805" y="135871"/>
                    </a:lnTo>
                    <a:lnTo>
                      <a:pt x="639792" y="101958"/>
                    </a:lnTo>
                    <a:lnTo>
                      <a:pt x="602055" y="71637"/>
                    </a:lnTo>
                    <a:lnTo>
                      <a:pt x="577559" y="5645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 sz="1801"/>
              </a:p>
            </p:txBody>
          </p:sp>
        </p:grpSp>
      </p:grpSp>
      <p:pic>
        <p:nvPicPr>
          <p:cNvPr id="10" name="object 4">
            <a:extLst>
              <a:ext uri="{FF2B5EF4-FFF2-40B4-BE49-F238E27FC236}">
                <a16:creationId xmlns:a16="http://schemas.microsoft.com/office/drawing/2014/main" xmlns="" id="{72D48FCA-812E-A75E-944F-2642D70FBA35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2188760" y="10638419"/>
            <a:ext cx="14508356" cy="670136"/>
          </a:xfrm>
          <a:prstGeom prst="rect">
            <a:avLst/>
          </a:prstGeom>
        </p:spPr>
      </p:pic>
      <p:pic>
        <p:nvPicPr>
          <p:cNvPr id="13" name="object 6">
            <a:extLst>
              <a:ext uri="{FF2B5EF4-FFF2-40B4-BE49-F238E27FC236}">
                <a16:creationId xmlns:a16="http://schemas.microsoft.com/office/drawing/2014/main" xmlns="" id="{628DD2A8-96CC-D022-510D-2931503F9651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-17495"/>
            <a:ext cx="16738807" cy="732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37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3A88FE59-9D6F-9C91-EFDB-58108EA4111F}"/>
              </a:ext>
            </a:extLst>
          </p:cNvPr>
          <p:cNvSpPr txBox="1"/>
          <p:nvPr/>
        </p:nvSpPr>
        <p:spPr>
          <a:xfrm>
            <a:off x="4743450" y="971796"/>
            <a:ext cx="10534459" cy="128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11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Reforma tributária e saneamento</a:t>
            </a:r>
          </a:p>
          <a:p>
            <a:pPr algn="ctr"/>
            <a:r>
              <a:rPr lang="pt-BR" sz="3653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como viabilizar a universalização?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B06CAD8E-8F8D-D00C-2F65-CCD6B9F4A708}"/>
              </a:ext>
            </a:extLst>
          </p:cNvPr>
          <p:cNvSpPr txBox="1"/>
          <p:nvPr/>
        </p:nvSpPr>
        <p:spPr>
          <a:xfrm>
            <a:off x="1107681" y="5805922"/>
            <a:ext cx="2729601" cy="843112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1598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dos brasileiros NÃO têm acesso à abastecimento de água</a:t>
            </a:r>
          </a:p>
        </p:txBody>
      </p:sp>
      <p:sp>
        <p:nvSpPr>
          <p:cNvPr id="3129" name="CaixaDeTexto 3128">
            <a:extLst>
              <a:ext uri="{FF2B5EF4-FFF2-40B4-BE49-F238E27FC236}">
                <a16:creationId xmlns:a16="http://schemas.microsoft.com/office/drawing/2014/main" xmlns="" id="{C5D4C4CA-B2BD-8935-800D-C0C65D6D6ADC}"/>
              </a:ext>
            </a:extLst>
          </p:cNvPr>
          <p:cNvSpPr txBox="1"/>
          <p:nvPr/>
        </p:nvSpPr>
        <p:spPr>
          <a:xfrm>
            <a:off x="16802100" y="10380023"/>
            <a:ext cx="2966082" cy="724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37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Fonte: Levantamento ABCON SINDCON com base em KPMG, SNIS e PNAD.</a:t>
            </a:r>
            <a:endParaRPr lang="pt-BR" sz="1370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</a:endParaRP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xmlns="" id="{D6207C64-4152-6B6B-2DAC-4689499BFB79}"/>
              </a:ext>
            </a:extLst>
          </p:cNvPr>
          <p:cNvGrpSpPr>
            <a:grpSpLocks noChangeAspect="1"/>
          </p:cNvGrpSpPr>
          <p:nvPr/>
        </p:nvGrpSpPr>
        <p:grpSpPr>
          <a:xfrm>
            <a:off x="882021" y="2510611"/>
            <a:ext cx="2738565" cy="2268000"/>
            <a:chOff x="1253238" y="2510612"/>
            <a:chExt cx="4222845" cy="3497237"/>
          </a:xfrm>
        </p:grpSpPr>
        <p:sp>
          <p:nvSpPr>
            <p:cNvPr id="16" name="Retângulo Arredondado 15">
              <a:extLst>
                <a:ext uri="{FF2B5EF4-FFF2-40B4-BE49-F238E27FC236}">
                  <a16:creationId xmlns:a16="http://schemas.microsoft.com/office/drawing/2014/main" xmlns="" id="{9BAAA5FE-FBBC-10DB-3BBC-116BF50885B2}"/>
                </a:ext>
              </a:extLst>
            </p:cNvPr>
            <p:cNvSpPr/>
            <p:nvPr/>
          </p:nvSpPr>
          <p:spPr>
            <a:xfrm>
              <a:off x="1518744" y="2510612"/>
              <a:ext cx="3691835" cy="3497237"/>
            </a:xfrm>
            <a:prstGeom prst="roundRect">
              <a:avLst>
                <a:gd name="adj" fmla="val 6475"/>
              </a:avLst>
            </a:prstGeom>
            <a:gradFill flip="none" rotWithShape="1">
              <a:gsLst>
                <a:gs pos="0">
                  <a:srgbClr val="288BB3"/>
                </a:gs>
                <a:gs pos="100000">
                  <a:srgbClr val="9CC42E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055"/>
            </a:p>
          </p:txBody>
        </p:sp>
        <p:pic>
          <p:nvPicPr>
            <p:cNvPr id="53" name="Gráfico 52" descr="Lavagem das mãos com preenchimento sólido">
              <a:extLst>
                <a:ext uri="{FF2B5EF4-FFF2-40B4-BE49-F238E27FC236}">
                  <a16:creationId xmlns:a16="http://schemas.microsoft.com/office/drawing/2014/main" xmlns="" id="{B22F4A5A-9279-C93E-CD3E-E769F5CC4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2259212" y="2721324"/>
              <a:ext cx="2210899" cy="2210899"/>
            </a:xfrm>
            <a:prstGeom prst="rect">
              <a:avLst/>
            </a:prstGeom>
          </p:spPr>
        </p:pic>
        <p:sp>
          <p:nvSpPr>
            <p:cNvPr id="2" name="CaixaDeTexto 1">
              <a:extLst>
                <a:ext uri="{FF2B5EF4-FFF2-40B4-BE49-F238E27FC236}">
                  <a16:creationId xmlns:a16="http://schemas.microsoft.com/office/drawing/2014/main" xmlns="" id="{3858F119-E995-473B-FEC1-EB874CEFA9C4}"/>
                </a:ext>
              </a:extLst>
            </p:cNvPr>
            <p:cNvSpPr txBox="1"/>
            <p:nvPr/>
          </p:nvSpPr>
          <p:spPr>
            <a:xfrm>
              <a:off x="1253238" y="4767501"/>
              <a:ext cx="4222845" cy="7949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283" b="1" dirty="0">
                  <a:solidFill>
                    <a:schemeClr val="bg1"/>
                  </a:solidFill>
                  <a:latin typeface="Helvetica" panose="020B0604020202020204" pitchFamily="2" charset="0"/>
                </a:rPr>
                <a:t>Abastecimento</a:t>
              </a:r>
            </a:p>
            <a:p>
              <a:pPr algn="ctr"/>
              <a:r>
                <a:rPr lang="pt-BR" sz="2283" b="1" dirty="0">
                  <a:solidFill>
                    <a:schemeClr val="bg1"/>
                  </a:solidFill>
                  <a:latin typeface="Helvetica" panose="020B0604020202020204" pitchFamily="2" charset="0"/>
                </a:rPr>
                <a:t>de água</a:t>
              </a:r>
            </a:p>
          </p:txBody>
        </p:sp>
      </p:grpSp>
      <p:sp>
        <p:nvSpPr>
          <p:cNvPr id="18" name="CaixaDeTexto 17">
            <a:extLst>
              <a:ext uri="{FF2B5EF4-FFF2-40B4-BE49-F238E27FC236}">
                <a16:creationId xmlns:a16="http://schemas.microsoft.com/office/drawing/2014/main" xmlns="" id="{ED633FF3-3806-FDF3-D118-0E606644C0F8}"/>
              </a:ext>
            </a:extLst>
          </p:cNvPr>
          <p:cNvSpPr txBox="1"/>
          <p:nvPr/>
        </p:nvSpPr>
        <p:spPr>
          <a:xfrm>
            <a:off x="879856" y="4842813"/>
            <a:ext cx="2148428" cy="1146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850" b="1" dirty="0">
                <a:gradFill>
                  <a:gsLst>
                    <a:gs pos="64000">
                      <a:srgbClr val="288BB3"/>
                    </a:gs>
                    <a:gs pos="0">
                      <a:srgbClr val="9CC42E"/>
                    </a:gs>
                  </a:gsLst>
                  <a:lin ang="2700000" scaled="1"/>
                </a:gradFill>
                <a:latin typeface="Helvetica" pitchFamily="2" charset="0"/>
              </a:rPr>
              <a:t>16%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5C51D169-239B-CEEE-9D4F-48EB993FFF05}"/>
              </a:ext>
            </a:extLst>
          </p:cNvPr>
          <p:cNvSpPr txBox="1"/>
          <p:nvPr/>
        </p:nvSpPr>
        <p:spPr>
          <a:xfrm>
            <a:off x="4286106" y="5849244"/>
            <a:ext cx="3026119" cy="597211"/>
          </a:xfrm>
          <a:prstGeom prst="rect">
            <a:avLst/>
          </a:prstGeom>
          <a:noFill/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1598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dos brasileiros NÃO têm</a:t>
            </a:r>
          </a:p>
          <a:p>
            <a:r>
              <a:rPr lang="pt-BR" sz="1598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seu esgoto coletado.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xmlns="" id="{1E7AA764-39DA-20AA-643F-5B03399357D1}"/>
              </a:ext>
            </a:extLst>
          </p:cNvPr>
          <p:cNvSpPr txBox="1"/>
          <p:nvPr/>
        </p:nvSpPr>
        <p:spPr>
          <a:xfrm>
            <a:off x="4151058" y="4911115"/>
            <a:ext cx="2148428" cy="1146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850" b="1" dirty="0">
                <a:gradFill>
                  <a:gsLst>
                    <a:gs pos="64000">
                      <a:srgbClr val="288BB3"/>
                    </a:gs>
                    <a:gs pos="0">
                      <a:srgbClr val="9CC42E"/>
                    </a:gs>
                  </a:gsLst>
                  <a:lin ang="2700000" scaled="1"/>
                </a:gradFill>
                <a:latin typeface="Helvetica" pitchFamily="2" charset="0"/>
              </a:rPr>
              <a:t>44%</a:t>
            </a: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xmlns="" id="{13CC2D24-F49B-EA28-50CF-925A453F382D}"/>
              </a:ext>
            </a:extLst>
          </p:cNvPr>
          <p:cNvGrpSpPr>
            <a:grpSpLocks noChangeAspect="1"/>
          </p:cNvGrpSpPr>
          <p:nvPr/>
        </p:nvGrpSpPr>
        <p:grpSpPr>
          <a:xfrm>
            <a:off x="3933948" y="2524525"/>
            <a:ext cx="2738564" cy="2268000"/>
            <a:chOff x="5526958" y="2510612"/>
            <a:chExt cx="4222845" cy="3497237"/>
          </a:xfrm>
        </p:grpSpPr>
        <p:sp>
          <p:nvSpPr>
            <p:cNvPr id="20" name="Retângulo Arredondado 19">
              <a:extLst>
                <a:ext uri="{FF2B5EF4-FFF2-40B4-BE49-F238E27FC236}">
                  <a16:creationId xmlns:a16="http://schemas.microsoft.com/office/drawing/2014/main" xmlns="" id="{91D35766-BE27-8585-8202-49CBAAB251A3}"/>
                </a:ext>
              </a:extLst>
            </p:cNvPr>
            <p:cNvSpPr/>
            <p:nvPr/>
          </p:nvSpPr>
          <p:spPr>
            <a:xfrm>
              <a:off x="5792462" y="2510612"/>
              <a:ext cx="3691835" cy="3497237"/>
            </a:xfrm>
            <a:prstGeom prst="roundRect">
              <a:avLst>
                <a:gd name="adj" fmla="val 6475"/>
              </a:avLst>
            </a:prstGeom>
            <a:gradFill flip="none" rotWithShape="1">
              <a:gsLst>
                <a:gs pos="0">
                  <a:srgbClr val="288BB3"/>
                </a:gs>
                <a:gs pos="100000">
                  <a:srgbClr val="9CC42E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055"/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xmlns="" id="{C225182D-8DC0-68D8-DADE-26B8DD19C1F7}"/>
                </a:ext>
              </a:extLst>
            </p:cNvPr>
            <p:cNvSpPr txBox="1"/>
            <p:nvPr/>
          </p:nvSpPr>
          <p:spPr>
            <a:xfrm>
              <a:off x="5526958" y="4815889"/>
              <a:ext cx="4222845" cy="11684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283" b="1" dirty="0">
                  <a:solidFill>
                    <a:schemeClr val="bg1"/>
                  </a:solidFill>
                  <a:latin typeface="Helvetica" panose="020B0604020202020204" pitchFamily="2" charset="0"/>
                </a:rPr>
                <a:t>Coleta </a:t>
              </a:r>
            </a:p>
            <a:p>
              <a:pPr algn="ctr"/>
              <a:r>
                <a:rPr lang="pt-BR" sz="2283" b="1" dirty="0">
                  <a:solidFill>
                    <a:schemeClr val="bg1"/>
                  </a:solidFill>
                  <a:latin typeface="Helvetica" panose="020B0604020202020204" pitchFamily="2" charset="0"/>
                </a:rPr>
                <a:t>de esgoto</a:t>
              </a:r>
            </a:p>
          </p:txBody>
        </p:sp>
        <p:grpSp>
          <p:nvGrpSpPr>
            <p:cNvPr id="34" name="Agrupar 33">
              <a:extLst>
                <a:ext uri="{FF2B5EF4-FFF2-40B4-BE49-F238E27FC236}">
                  <a16:creationId xmlns:a16="http://schemas.microsoft.com/office/drawing/2014/main" xmlns="" id="{0BB23723-E797-3CD5-74F9-14CDD2E29EF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033420" y="2913542"/>
              <a:ext cx="1209918" cy="1826463"/>
              <a:chOff x="3869211" y="3970750"/>
              <a:chExt cx="935758" cy="1412599"/>
            </a:xfrm>
            <a:solidFill>
              <a:schemeClr val="bg1"/>
            </a:solidFill>
          </p:grpSpPr>
          <p:sp>
            <p:nvSpPr>
              <p:cNvPr id="28" name="Trapezoide 27">
                <a:extLst>
                  <a:ext uri="{FF2B5EF4-FFF2-40B4-BE49-F238E27FC236}">
                    <a16:creationId xmlns:a16="http://schemas.microsoft.com/office/drawing/2014/main" xmlns="" id="{E781238A-8F3F-3A35-896F-C7A39797C84D}"/>
                  </a:ext>
                </a:extLst>
              </p:cNvPr>
              <p:cNvSpPr/>
              <p:nvPr/>
            </p:nvSpPr>
            <p:spPr>
              <a:xfrm rot="10800000">
                <a:off x="3869211" y="4089877"/>
                <a:ext cx="935758" cy="490971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/>
              </a:p>
            </p:txBody>
          </p:sp>
          <p:sp>
            <p:nvSpPr>
              <p:cNvPr id="29" name="Elipse 28">
                <a:extLst>
                  <a:ext uri="{FF2B5EF4-FFF2-40B4-BE49-F238E27FC236}">
                    <a16:creationId xmlns:a16="http://schemas.microsoft.com/office/drawing/2014/main" xmlns="" id="{57A69662-22D3-3664-C339-E904C3E27772}"/>
                  </a:ext>
                </a:extLst>
              </p:cNvPr>
              <p:cNvSpPr/>
              <p:nvPr/>
            </p:nvSpPr>
            <p:spPr>
              <a:xfrm>
                <a:off x="4002412" y="3970750"/>
                <a:ext cx="642323" cy="729226"/>
              </a:xfrm>
              <a:prstGeom prst="ellipse">
                <a:avLst/>
              </a:prstGeom>
              <a:grpFill/>
              <a:ln w="38100">
                <a:solidFill>
                  <a:srgbClr val="469AA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/>
              </a:p>
            </p:txBody>
          </p:sp>
          <p:sp>
            <p:nvSpPr>
              <p:cNvPr id="30" name="Retângulo: Cantos Arredondados 29">
                <a:extLst>
                  <a:ext uri="{FF2B5EF4-FFF2-40B4-BE49-F238E27FC236}">
                    <a16:creationId xmlns:a16="http://schemas.microsoft.com/office/drawing/2014/main" xmlns="" id="{EA766DDD-F9EA-8E73-0C0A-EAE801444E74}"/>
                  </a:ext>
                </a:extLst>
              </p:cNvPr>
              <p:cNvSpPr/>
              <p:nvPr/>
            </p:nvSpPr>
            <p:spPr>
              <a:xfrm>
                <a:off x="3869211" y="4611077"/>
                <a:ext cx="935758" cy="88900"/>
              </a:xfrm>
              <a:prstGeom prst="roundRect">
                <a:avLst>
                  <a:gd name="adj" fmla="val 4770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/>
              </a:p>
            </p:txBody>
          </p:sp>
          <p:sp>
            <p:nvSpPr>
              <p:cNvPr id="31" name="Corda 30">
                <a:extLst>
                  <a:ext uri="{FF2B5EF4-FFF2-40B4-BE49-F238E27FC236}">
                    <a16:creationId xmlns:a16="http://schemas.microsoft.com/office/drawing/2014/main" xmlns="" id="{34163E27-DCE5-6531-3659-131FBEA22FC7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8618092">
                <a:off x="3959121" y="4339175"/>
                <a:ext cx="756000" cy="756000"/>
              </a:xfrm>
              <a:prstGeom prst="chord">
                <a:avLst>
                  <a:gd name="adj1" fmla="val 2700000"/>
                  <a:gd name="adj2" fmla="val 1399537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/>
              </a:p>
            </p:txBody>
          </p:sp>
          <p:sp>
            <p:nvSpPr>
              <p:cNvPr id="32" name="Trapezoide 31">
                <a:extLst>
                  <a:ext uri="{FF2B5EF4-FFF2-40B4-BE49-F238E27FC236}">
                    <a16:creationId xmlns:a16="http://schemas.microsoft.com/office/drawing/2014/main" xmlns="" id="{C422F653-7C31-8073-A62A-F608240D1E42}"/>
                  </a:ext>
                </a:extLst>
              </p:cNvPr>
              <p:cNvSpPr/>
              <p:nvPr/>
            </p:nvSpPr>
            <p:spPr>
              <a:xfrm>
                <a:off x="4065428" y="5025440"/>
                <a:ext cx="543322" cy="357909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/>
              </a:p>
            </p:txBody>
          </p:sp>
          <p:sp>
            <p:nvSpPr>
              <p:cNvPr id="33" name="Elipse 32">
                <a:extLst>
                  <a:ext uri="{FF2B5EF4-FFF2-40B4-BE49-F238E27FC236}">
                    <a16:creationId xmlns:a16="http://schemas.microsoft.com/office/drawing/2014/main" xmlns="" id="{86A897E2-6249-B394-CDB4-C41C39D805C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24251" y="4146367"/>
                <a:ext cx="406931" cy="461986"/>
              </a:xfrm>
              <a:prstGeom prst="ellipse">
                <a:avLst/>
              </a:prstGeom>
              <a:grpFill/>
              <a:ln w="3492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 dirty="0"/>
              </a:p>
            </p:txBody>
          </p:sp>
        </p:grpSp>
      </p:grpSp>
      <p:sp>
        <p:nvSpPr>
          <p:cNvPr id="24" name="CaixaDeTexto 23">
            <a:extLst>
              <a:ext uri="{FF2B5EF4-FFF2-40B4-BE49-F238E27FC236}">
                <a16:creationId xmlns:a16="http://schemas.microsoft.com/office/drawing/2014/main" xmlns="" id="{649C583C-756D-0C11-BA98-036953F6ACDC}"/>
              </a:ext>
            </a:extLst>
          </p:cNvPr>
          <p:cNvSpPr txBox="1"/>
          <p:nvPr/>
        </p:nvSpPr>
        <p:spPr>
          <a:xfrm>
            <a:off x="7149218" y="5890892"/>
            <a:ext cx="2004496" cy="597211"/>
          </a:xfrm>
          <a:prstGeom prst="rect">
            <a:avLst/>
          </a:prstGeom>
          <a:noFill/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1598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do esgoto gerado NÃO é tratado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382FF04E-850F-BFFB-609D-26D08F3156A6}"/>
              </a:ext>
            </a:extLst>
          </p:cNvPr>
          <p:cNvSpPr txBox="1"/>
          <p:nvPr/>
        </p:nvSpPr>
        <p:spPr>
          <a:xfrm>
            <a:off x="7077251" y="4965492"/>
            <a:ext cx="2148428" cy="1146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850" b="1" dirty="0">
                <a:gradFill>
                  <a:gsLst>
                    <a:gs pos="64000">
                      <a:srgbClr val="288BB3"/>
                    </a:gs>
                    <a:gs pos="0">
                      <a:srgbClr val="9CC42E"/>
                    </a:gs>
                  </a:gsLst>
                  <a:lin ang="2700000" scaled="1"/>
                </a:gradFill>
                <a:latin typeface="Helvetica" pitchFamily="2" charset="0"/>
              </a:rPr>
              <a:t>49%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xmlns="" id="{960B2217-D308-E3DD-0FF7-97DF11F036B7}"/>
              </a:ext>
            </a:extLst>
          </p:cNvPr>
          <p:cNvGrpSpPr>
            <a:grpSpLocks noChangeAspect="1"/>
          </p:cNvGrpSpPr>
          <p:nvPr/>
        </p:nvGrpSpPr>
        <p:grpSpPr>
          <a:xfrm>
            <a:off x="7031485" y="2510611"/>
            <a:ext cx="2738567" cy="2268000"/>
            <a:chOff x="9800676" y="2510612"/>
            <a:chExt cx="4222845" cy="3497237"/>
          </a:xfrm>
        </p:grpSpPr>
        <p:sp>
          <p:nvSpPr>
            <p:cNvPr id="25" name="Retângulo Arredondado 24">
              <a:extLst>
                <a:ext uri="{FF2B5EF4-FFF2-40B4-BE49-F238E27FC236}">
                  <a16:creationId xmlns:a16="http://schemas.microsoft.com/office/drawing/2014/main" xmlns="" id="{E067C641-B0FF-4A40-72ED-2E3951833440}"/>
                </a:ext>
              </a:extLst>
            </p:cNvPr>
            <p:cNvSpPr/>
            <p:nvPr/>
          </p:nvSpPr>
          <p:spPr>
            <a:xfrm>
              <a:off x="10066180" y="2510612"/>
              <a:ext cx="3691835" cy="3497237"/>
            </a:xfrm>
            <a:prstGeom prst="roundRect">
              <a:avLst>
                <a:gd name="adj" fmla="val 6475"/>
              </a:avLst>
            </a:prstGeom>
            <a:gradFill flip="none" rotWithShape="1">
              <a:gsLst>
                <a:gs pos="0">
                  <a:srgbClr val="288BB3"/>
                </a:gs>
                <a:gs pos="100000">
                  <a:srgbClr val="9CC42E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055"/>
            </a:p>
          </p:txBody>
        </p:sp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xmlns="" id="{66BE0A1D-63E4-AD17-F3A1-755171759D55}"/>
                </a:ext>
              </a:extLst>
            </p:cNvPr>
            <p:cNvSpPr txBox="1"/>
            <p:nvPr/>
          </p:nvSpPr>
          <p:spPr>
            <a:xfrm>
              <a:off x="9800676" y="4895760"/>
              <a:ext cx="4222845" cy="7949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283" b="1" dirty="0">
                  <a:solidFill>
                    <a:schemeClr val="bg1"/>
                  </a:solidFill>
                  <a:latin typeface="Helvetica" panose="020B0604020202020204" pitchFamily="2" charset="0"/>
                </a:rPr>
                <a:t>Tratamento</a:t>
              </a:r>
            </a:p>
            <a:p>
              <a:pPr algn="ctr"/>
              <a:r>
                <a:rPr lang="pt-BR" sz="2283" b="1" dirty="0">
                  <a:solidFill>
                    <a:schemeClr val="bg1"/>
                  </a:solidFill>
                  <a:latin typeface="Helvetica" panose="020B0604020202020204" pitchFamily="2" charset="0"/>
                </a:rPr>
                <a:t>de esgoto</a:t>
              </a:r>
            </a:p>
          </p:txBody>
        </p:sp>
        <p:grpSp>
          <p:nvGrpSpPr>
            <p:cNvPr id="60" name="Agrupar 59">
              <a:extLst>
                <a:ext uri="{FF2B5EF4-FFF2-40B4-BE49-F238E27FC236}">
                  <a16:creationId xmlns:a16="http://schemas.microsoft.com/office/drawing/2014/main" xmlns="" id="{10353AF2-450E-C2B8-A846-4577505D30D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937133" y="2911534"/>
              <a:ext cx="2246970" cy="1828471"/>
              <a:chOff x="2200817" y="6993790"/>
              <a:chExt cx="1622004" cy="1319905"/>
            </a:xfrm>
            <a:solidFill>
              <a:schemeClr val="bg1"/>
            </a:solidFill>
          </p:grpSpPr>
          <p:grpSp>
            <p:nvGrpSpPr>
              <p:cNvPr id="48" name="Agrupar 47">
                <a:extLst>
                  <a:ext uri="{FF2B5EF4-FFF2-40B4-BE49-F238E27FC236}">
                    <a16:creationId xmlns:a16="http://schemas.microsoft.com/office/drawing/2014/main" xmlns="" id="{0C8ECE74-6891-D540-8130-09EB80EC29A3}"/>
                  </a:ext>
                </a:extLst>
              </p:cNvPr>
              <p:cNvGrpSpPr/>
              <p:nvPr/>
            </p:nvGrpSpPr>
            <p:grpSpPr>
              <a:xfrm>
                <a:off x="2218478" y="7864376"/>
                <a:ext cx="1604343" cy="449319"/>
                <a:chOff x="3428551" y="7704081"/>
                <a:chExt cx="2030223" cy="449319"/>
              </a:xfrm>
              <a:grpFill/>
            </p:grpSpPr>
            <p:pic>
              <p:nvPicPr>
                <p:cNvPr id="46" name="Gráfico 45" descr="Onda com preenchimento sólido">
                  <a:extLst>
                    <a:ext uri="{FF2B5EF4-FFF2-40B4-BE49-F238E27FC236}">
                      <a16:creationId xmlns:a16="http://schemas.microsoft.com/office/drawing/2014/main" xmlns="" id="{6B77F1EE-6579-5027-4BFF-76AA5E6B14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  <a:srcRect t="72563" b="15551"/>
                <a:stretch/>
              </p:blipFill>
              <p:spPr>
                <a:xfrm>
                  <a:off x="3428551" y="7912100"/>
                  <a:ext cx="2030223" cy="241300"/>
                </a:xfrm>
                <a:prstGeom prst="rect">
                  <a:avLst/>
                </a:prstGeom>
              </p:spPr>
            </p:pic>
            <p:pic>
              <p:nvPicPr>
                <p:cNvPr id="47" name="Gráfico 46" descr="Onda com preenchimento sólido">
                  <a:extLst>
                    <a:ext uri="{FF2B5EF4-FFF2-40B4-BE49-F238E27FC236}">
                      <a16:creationId xmlns:a16="http://schemas.microsoft.com/office/drawing/2014/main" xmlns="" id="{3E7A5F97-54DB-ABCA-BC2C-90090D3627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  <a:srcRect t="72563" b="15551"/>
                <a:stretch/>
              </p:blipFill>
              <p:spPr>
                <a:xfrm>
                  <a:off x="3428551" y="7704081"/>
                  <a:ext cx="2030223" cy="241300"/>
                </a:xfrm>
                <a:prstGeom prst="rect">
                  <a:avLst/>
                </a:prstGeom>
              </p:spPr>
            </p:pic>
          </p:grpSp>
          <p:grpSp>
            <p:nvGrpSpPr>
              <p:cNvPr id="54" name="Agrupar 53">
                <a:extLst>
                  <a:ext uri="{FF2B5EF4-FFF2-40B4-BE49-F238E27FC236}">
                    <a16:creationId xmlns:a16="http://schemas.microsoft.com/office/drawing/2014/main" xmlns="" id="{9D837B7B-F39F-44F5-F595-EEFBC63FF2F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00817" y="6993790"/>
                <a:ext cx="663943" cy="654324"/>
                <a:chOff x="1969559" y="4468026"/>
                <a:chExt cx="1126938" cy="1110612"/>
              </a:xfrm>
              <a:grpFill/>
            </p:grpSpPr>
            <p:sp>
              <p:nvSpPr>
                <p:cNvPr id="50" name="Retângulo: Cantos Arredondados 49">
                  <a:extLst>
                    <a:ext uri="{FF2B5EF4-FFF2-40B4-BE49-F238E27FC236}">
                      <a16:creationId xmlns:a16="http://schemas.microsoft.com/office/drawing/2014/main" xmlns="" id="{093128C6-CA45-268B-1C49-EDACF3289724}"/>
                    </a:ext>
                  </a:extLst>
                </p:cNvPr>
                <p:cNvSpPr/>
                <p:nvPr/>
              </p:nvSpPr>
              <p:spPr>
                <a:xfrm>
                  <a:off x="1969559" y="4610100"/>
                  <a:ext cx="1071563" cy="826464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2055"/>
                </a:p>
              </p:txBody>
            </p:sp>
            <p:sp>
              <p:nvSpPr>
                <p:cNvPr id="51" name="Retângulo: Cantos Arredondados 50">
                  <a:extLst>
                    <a:ext uri="{FF2B5EF4-FFF2-40B4-BE49-F238E27FC236}">
                      <a16:creationId xmlns:a16="http://schemas.microsoft.com/office/drawing/2014/main" xmlns="" id="{6089BFCF-911F-4A65-3FC0-AD878E84AF5A}"/>
                    </a:ext>
                  </a:extLst>
                </p:cNvPr>
                <p:cNvSpPr/>
                <p:nvPr/>
              </p:nvSpPr>
              <p:spPr>
                <a:xfrm>
                  <a:off x="2902123" y="4468026"/>
                  <a:ext cx="194374" cy="1110612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2055"/>
                </a:p>
              </p:txBody>
            </p:sp>
          </p:grpSp>
          <p:pic>
            <p:nvPicPr>
              <p:cNvPr id="56" name="Gráfico 55" descr="Água com preenchimento sólido">
                <a:extLst>
                  <a:ext uri="{FF2B5EF4-FFF2-40B4-BE49-F238E27FC236}">
                    <a16:creationId xmlns:a16="http://schemas.microsoft.com/office/drawing/2014/main" xmlns="" id="{F88EA23D-C4EB-DD97-0335-A3C75DD05B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7"/>
                  </a:ext>
                </a:extLst>
              </a:blip>
              <a:stretch>
                <a:fillRect/>
              </a:stretch>
            </p:blipFill>
            <p:spPr>
              <a:xfrm rot="19983450">
                <a:off x="2851903" y="7411641"/>
                <a:ext cx="314797" cy="314797"/>
              </a:xfrm>
              <a:prstGeom prst="rect">
                <a:avLst/>
              </a:prstGeom>
            </p:spPr>
          </p:pic>
          <p:pic>
            <p:nvPicPr>
              <p:cNvPr id="58" name="Gráfico 57" descr="Água com preenchimento sólido">
                <a:extLst>
                  <a:ext uri="{FF2B5EF4-FFF2-40B4-BE49-F238E27FC236}">
                    <a16:creationId xmlns:a16="http://schemas.microsoft.com/office/drawing/2014/main" xmlns="" id="{85FE2DDC-D960-B44C-EA30-D54690D911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7"/>
                  </a:ext>
                </a:extLst>
              </a:blip>
              <a:stretch>
                <a:fillRect/>
              </a:stretch>
            </p:blipFill>
            <p:spPr>
              <a:xfrm rot="20749311">
                <a:off x="3097720" y="7487829"/>
                <a:ext cx="348038" cy="348038"/>
              </a:xfrm>
              <a:prstGeom prst="rect">
                <a:avLst/>
              </a:prstGeom>
            </p:spPr>
          </p:pic>
          <p:pic>
            <p:nvPicPr>
              <p:cNvPr id="59" name="Gráfico 58" descr="Água com preenchimento sólido">
                <a:extLst>
                  <a:ext uri="{FF2B5EF4-FFF2-40B4-BE49-F238E27FC236}">
                    <a16:creationId xmlns:a16="http://schemas.microsoft.com/office/drawing/2014/main" xmlns="" id="{3FEF8242-5D40-6D34-039A-28BD2564C1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7"/>
                  </a:ext>
                </a:extLst>
              </a:blip>
              <a:stretch>
                <a:fillRect/>
              </a:stretch>
            </p:blipFill>
            <p:spPr>
              <a:xfrm rot="19345173">
                <a:off x="2942896" y="7186281"/>
                <a:ext cx="314797" cy="314797"/>
              </a:xfrm>
              <a:prstGeom prst="rect">
                <a:avLst/>
              </a:prstGeom>
            </p:spPr>
          </p:pic>
        </p:grpSp>
      </p:grpSp>
      <p:sp>
        <p:nvSpPr>
          <p:cNvPr id="35" name="CaixaDeTexto 34">
            <a:extLst>
              <a:ext uri="{FF2B5EF4-FFF2-40B4-BE49-F238E27FC236}">
                <a16:creationId xmlns:a16="http://schemas.microsoft.com/office/drawing/2014/main" xmlns="" id="{2CAD4A00-DA8E-B092-9B16-99BCACD80218}"/>
              </a:ext>
            </a:extLst>
          </p:cNvPr>
          <p:cNvSpPr txBox="1"/>
          <p:nvPr/>
        </p:nvSpPr>
        <p:spPr>
          <a:xfrm>
            <a:off x="5073459" y="8163443"/>
            <a:ext cx="5304830" cy="2075179"/>
          </a:xfrm>
          <a:prstGeom prst="rect">
            <a:avLst/>
          </a:prstGeom>
          <a:noFill/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3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R$ 893 bilhões é o volume de investimentos necessários para alcançar a universalização</a:t>
            </a:r>
            <a:endParaRPr lang="pt-BR" sz="3200" b="1" kern="0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FF"/>
              </a:highlight>
              <a:latin typeface="Helvetica" panose="020B0604020202020204" pitchFamily="2" charset="0"/>
            </a:endParaRPr>
          </a:p>
        </p:txBody>
      </p:sp>
      <p:sp>
        <p:nvSpPr>
          <p:cNvPr id="36" name="Retângulo Arredondado 35">
            <a:extLst>
              <a:ext uri="{FF2B5EF4-FFF2-40B4-BE49-F238E27FC236}">
                <a16:creationId xmlns:a16="http://schemas.microsoft.com/office/drawing/2014/main" xmlns="" id="{B5BDECDB-B19F-E737-201C-AD2E1730490B}"/>
              </a:ext>
            </a:extLst>
          </p:cNvPr>
          <p:cNvSpPr/>
          <p:nvPr/>
        </p:nvSpPr>
        <p:spPr>
          <a:xfrm>
            <a:off x="1122283" y="6882786"/>
            <a:ext cx="3691835" cy="3497237"/>
          </a:xfrm>
          <a:prstGeom prst="roundRect">
            <a:avLst>
              <a:gd name="adj" fmla="val 6475"/>
            </a:avLst>
          </a:prstGeom>
          <a:gradFill flip="none" rotWithShape="1">
            <a:gsLst>
              <a:gs pos="0">
                <a:srgbClr val="288BB3"/>
              </a:gs>
              <a:gs pos="100000">
                <a:srgbClr val="9CC42E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55"/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xmlns="" id="{211BA541-1FF7-5141-31C2-802A40008FFC}"/>
              </a:ext>
            </a:extLst>
          </p:cNvPr>
          <p:cNvSpPr txBox="1"/>
          <p:nvPr/>
        </p:nvSpPr>
        <p:spPr>
          <a:xfrm>
            <a:off x="882240" y="8754621"/>
            <a:ext cx="4222845" cy="1041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165" b="1" dirty="0">
                <a:solidFill>
                  <a:schemeClr val="bg1"/>
                </a:solidFill>
                <a:latin typeface="Helvetica" panose="020B0604020202020204" pitchFamily="2" charset="0"/>
              </a:rPr>
              <a:t>bilhões</a:t>
            </a: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xmlns="" id="{6C6B0A93-C4D4-505A-5942-962C7EDF6B5D}"/>
              </a:ext>
            </a:extLst>
          </p:cNvPr>
          <p:cNvSpPr txBox="1"/>
          <p:nvPr/>
        </p:nvSpPr>
        <p:spPr>
          <a:xfrm>
            <a:off x="1195770" y="7522481"/>
            <a:ext cx="4222845" cy="1638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46" b="1" dirty="0">
                <a:solidFill>
                  <a:schemeClr val="bg1"/>
                </a:solidFill>
                <a:latin typeface="Helvetica" panose="020B0604020202020204" pitchFamily="2" charset="0"/>
              </a:rPr>
              <a:t>893</a:t>
            </a: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xmlns="" id="{5CD26A69-8D1D-1459-FDFD-EB66F4BE491C}"/>
              </a:ext>
            </a:extLst>
          </p:cNvPr>
          <p:cNvSpPr txBox="1"/>
          <p:nvPr/>
        </p:nvSpPr>
        <p:spPr>
          <a:xfrm>
            <a:off x="1455111" y="7740627"/>
            <a:ext cx="932251" cy="654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53" b="1" dirty="0">
                <a:solidFill>
                  <a:schemeClr val="bg1"/>
                </a:solidFill>
                <a:latin typeface="Helvetica" panose="020B0604020202020204" pitchFamily="2" charset="0"/>
              </a:rPr>
              <a:t>R$</a:t>
            </a:r>
          </a:p>
        </p:txBody>
      </p:sp>
      <p:sp>
        <p:nvSpPr>
          <p:cNvPr id="8" name="Círculo Parcial 7">
            <a:extLst>
              <a:ext uri="{FF2B5EF4-FFF2-40B4-BE49-F238E27FC236}">
                <a16:creationId xmlns:a16="http://schemas.microsoft.com/office/drawing/2014/main" xmlns="" id="{28C0735B-BB5F-8E90-BFE3-59CE40C23994}"/>
              </a:ext>
            </a:extLst>
          </p:cNvPr>
          <p:cNvSpPr>
            <a:spLocks noChangeAspect="1"/>
          </p:cNvSpPr>
          <p:nvPr/>
        </p:nvSpPr>
        <p:spPr>
          <a:xfrm rot="15616229">
            <a:off x="10063521" y="3063572"/>
            <a:ext cx="5851414" cy="5851414"/>
          </a:xfrm>
          <a:prstGeom prst="pie">
            <a:avLst>
              <a:gd name="adj1" fmla="val 99605"/>
              <a:gd name="adj2" fmla="val 16113512"/>
            </a:avLst>
          </a:prstGeom>
          <a:gradFill flip="none" rotWithShape="1">
            <a:gsLst>
              <a:gs pos="0">
                <a:srgbClr val="288BB3"/>
              </a:gs>
              <a:gs pos="100000">
                <a:srgbClr val="9CC42E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55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xmlns="" id="{559BCE31-18E1-84FE-AB61-8B12702DB392}"/>
              </a:ext>
            </a:extLst>
          </p:cNvPr>
          <p:cNvSpPr txBox="1"/>
          <p:nvPr/>
        </p:nvSpPr>
        <p:spPr>
          <a:xfrm>
            <a:off x="16098615" y="5186709"/>
            <a:ext cx="3669567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dos brasileiros que NÃO têm acesso à coleta de esgoto</a:t>
            </a:r>
          </a:p>
          <a:p>
            <a:r>
              <a:rPr lang="pt-BR" sz="3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têm rendimento mensal ABAIXO DE UM SALÁRIO-MÍNIMO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xmlns="" id="{E6709FC8-3C66-E852-0E7C-E9085E1BD750}"/>
              </a:ext>
            </a:extLst>
          </p:cNvPr>
          <p:cNvSpPr txBox="1"/>
          <p:nvPr/>
        </p:nvSpPr>
        <p:spPr>
          <a:xfrm>
            <a:off x="15808561" y="3914689"/>
            <a:ext cx="303681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600" b="1" dirty="0">
                <a:gradFill>
                  <a:gsLst>
                    <a:gs pos="64000">
                      <a:srgbClr val="288BB3"/>
                    </a:gs>
                    <a:gs pos="0">
                      <a:srgbClr val="9CC42E"/>
                    </a:gs>
                  </a:gsLst>
                  <a:lin ang="2700000" scaled="1"/>
                </a:gradFill>
                <a:latin typeface="Helvetica" pitchFamily="2" charset="0"/>
              </a:rPr>
              <a:t>74%</a:t>
            </a:r>
          </a:p>
        </p:txBody>
      </p:sp>
    </p:spTree>
    <p:extLst>
      <p:ext uri="{BB962C8B-B14F-4D97-AF65-F5344CB8AC3E}">
        <p14:creationId xmlns:p14="http://schemas.microsoft.com/office/powerpoint/2010/main" val="27605917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7" name="CaixaDeTexto 3086">
            <a:extLst>
              <a:ext uri="{FF2B5EF4-FFF2-40B4-BE49-F238E27FC236}">
                <a16:creationId xmlns:a16="http://schemas.microsoft.com/office/drawing/2014/main" xmlns="" id="{600C7D37-E7DA-8765-7AFE-9736C4FC047E}"/>
              </a:ext>
            </a:extLst>
          </p:cNvPr>
          <p:cNvSpPr txBox="1"/>
          <p:nvPr/>
        </p:nvSpPr>
        <p:spPr>
          <a:xfrm>
            <a:off x="12531334" y="4955044"/>
            <a:ext cx="6806803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800" dirty="0"/>
              <a:t>Conforme estimativa atualizada da </a:t>
            </a:r>
            <a:r>
              <a:rPr lang="pt-BR" sz="2800" b="1" dirty="0"/>
              <a:t>GO Associados</a:t>
            </a:r>
            <a:r>
              <a:rPr lang="pt-BR" sz="2800" dirty="0"/>
              <a:t>, a carga tributária efetiva (PIS/COFINS + resíduos tributários) incidente sobre o setor de saneamento </a:t>
            </a:r>
            <a:r>
              <a:rPr lang="pt-BR" sz="2800" b="1" u="sng" dirty="0"/>
              <a:t>atualmente é de 9,74%</a:t>
            </a:r>
            <a:r>
              <a:rPr lang="pt-BR" sz="2800" b="1" dirty="0"/>
              <a:t> sobre a receita bruta. 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pt-BR" sz="28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800" dirty="0"/>
              <a:t>A incidência efetiva </a:t>
            </a:r>
            <a:r>
              <a:rPr lang="pt-BR" sz="2800" b="1" u="sng" dirty="0"/>
              <a:t>aumentaria em 56%</a:t>
            </a:r>
            <a:r>
              <a:rPr lang="pt-BR" sz="2800" b="1" dirty="0"/>
              <a:t> com a implementação da reforma proposta. </a:t>
            </a:r>
            <a:r>
              <a:rPr lang="pt-BR" sz="2800" dirty="0"/>
              <a:t>Essa alteração geraria uma série de impactos.</a:t>
            </a:r>
          </a:p>
        </p:txBody>
      </p:sp>
      <p:sp>
        <p:nvSpPr>
          <p:cNvPr id="3094" name="Retângulo 3093">
            <a:extLst>
              <a:ext uri="{FF2B5EF4-FFF2-40B4-BE49-F238E27FC236}">
                <a16:creationId xmlns:a16="http://schemas.microsoft.com/office/drawing/2014/main" xmlns="" id="{8D2C8113-555B-C140-F227-B3CBBDDBA889}"/>
              </a:ext>
            </a:extLst>
          </p:cNvPr>
          <p:cNvSpPr/>
          <p:nvPr/>
        </p:nvSpPr>
        <p:spPr>
          <a:xfrm>
            <a:off x="1425595" y="6357174"/>
            <a:ext cx="1331407" cy="519820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98" b="1" dirty="0">
                <a:latin typeface="Helvetica" panose="020B0604020202020204" pitchFamily="2" charset="0"/>
              </a:rPr>
              <a:t>PIS</a:t>
            </a:r>
          </a:p>
        </p:txBody>
      </p:sp>
      <p:sp>
        <p:nvSpPr>
          <p:cNvPr id="3095" name="Retângulo 3094">
            <a:extLst>
              <a:ext uri="{FF2B5EF4-FFF2-40B4-BE49-F238E27FC236}">
                <a16:creationId xmlns:a16="http://schemas.microsoft.com/office/drawing/2014/main" xmlns="" id="{A7082790-D107-37A5-41F6-D547AF8D5105}"/>
              </a:ext>
            </a:extLst>
          </p:cNvPr>
          <p:cNvSpPr/>
          <p:nvPr/>
        </p:nvSpPr>
        <p:spPr>
          <a:xfrm>
            <a:off x="2947642" y="6357174"/>
            <a:ext cx="1331407" cy="519820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sz="1199" b="1" dirty="0">
                <a:latin typeface="Helvetica" panose="020B0604020202020204" pitchFamily="2" charset="0"/>
              </a:rPr>
              <a:t>COFINS</a:t>
            </a:r>
          </a:p>
        </p:txBody>
      </p:sp>
      <p:sp>
        <p:nvSpPr>
          <p:cNvPr id="3096" name="Retângulo 3095">
            <a:extLst>
              <a:ext uri="{FF2B5EF4-FFF2-40B4-BE49-F238E27FC236}">
                <a16:creationId xmlns:a16="http://schemas.microsoft.com/office/drawing/2014/main" xmlns="" id="{41831F3E-ACB7-3F2F-663E-35058C71592C}"/>
              </a:ext>
            </a:extLst>
          </p:cNvPr>
          <p:cNvSpPr/>
          <p:nvPr/>
        </p:nvSpPr>
        <p:spPr>
          <a:xfrm>
            <a:off x="4432064" y="6357174"/>
            <a:ext cx="1331407" cy="519820"/>
          </a:xfrm>
          <a:prstGeom prst="rect">
            <a:avLst/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98" b="1" dirty="0">
                <a:latin typeface="Helvetica" panose="020B0604020202020204" pitchFamily="2" charset="0"/>
              </a:rPr>
              <a:t>IPI</a:t>
            </a:r>
          </a:p>
        </p:txBody>
      </p:sp>
      <p:pic>
        <p:nvPicPr>
          <p:cNvPr id="3100" name="Gráfico 3099" descr="Adicionar com preenchimento sólido">
            <a:extLst>
              <a:ext uri="{FF2B5EF4-FFF2-40B4-BE49-F238E27FC236}">
                <a16:creationId xmlns:a16="http://schemas.microsoft.com/office/drawing/2014/main" xmlns="" id="{E56D0D1A-B00A-A94F-4498-C468F60635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686118" y="6462421"/>
            <a:ext cx="328471" cy="328471"/>
          </a:xfrm>
          <a:prstGeom prst="rect">
            <a:avLst/>
          </a:prstGeom>
        </p:spPr>
      </p:pic>
      <p:pic>
        <p:nvPicPr>
          <p:cNvPr id="3101" name="Gráfico 3100" descr="Adicionar com preenchimento sólido">
            <a:extLst>
              <a:ext uri="{FF2B5EF4-FFF2-40B4-BE49-F238E27FC236}">
                <a16:creationId xmlns:a16="http://schemas.microsoft.com/office/drawing/2014/main" xmlns="" id="{C9FF4F10-8ACB-C0EB-93DC-F16AAB1906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191321" y="6462421"/>
            <a:ext cx="328471" cy="328471"/>
          </a:xfrm>
          <a:prstGeom prst="rect">
            <a:avLst/>
          </a:prstGeom>
        </p:spPr>
      </p:pic>
      <p:sp>
        <p:nvSpPr>
          <p:cNvPr id="3103" name="CaixaDeTexto 3102">
            <a:extLst>
              <a:ext uri="{FF2B5EF4-FFF2-40B4-BE49-F238E27FC236}">
                <a16:creationId xmlns:a16="http://schemas.microsoft.com/office/drawing/2014/main" xmlns="" id="{F304CF57-0CA0-8F99-47D0-8EB829C42C20}"/>
              </a:ext>
            </a:extLst>
          </p:cNvPr>
          <p:cNvSpPr txBox="1"/>
          <p:nvPr/>
        </p:nvSpPr>
        <p:spPr>
          <a:xfrm>
            <a:off x="2734230" y="8852234"/>
            <a:ext cx="1685988" cy="724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55" b="1" dirty="0">
                <a:solidFill>
                  <a:srgbClr val="00A69C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Chega a 9,25%</a:t>
            </a:r>
          </a:p>
        </p:txBody>
      </p:sp>
      <p:sp>
        <p:nvSpPr>
          <p:cNvPr id="3115" name="Colchete Esquerdo 3114">
            <a:extLst>
              <a:ext uri="{FF2B5EF4-FFF2-40B4-BE49-F238E27FC236}">
                <a16:creationId xmlns:a16="http://schemas.microsoft.com/office/drawing/2014/main" xmlns="" id="{4A9ADC9D-587B-8D1A-69D4-A2924F902721}"/>
              </a:ext>
            </a:extLst>
          </p:cNvPr>
          <p:cNvSpPr/>
          <p:nvPr/>
        </p:nvSpPr>
        <p:spPr>
          <a:xfrm rot="10800000">
            <a:off x="11216633" y="5984135"/>
            <a:ext cx="52194" cy="2480340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2055"/>
          </a:p>
        </p:txBody>
      </p:sp>
      <p:sp>
        <p:nvSpPr>
          <p:cNvPr id="3116" name="CaixaDeTexto 3115">
            <a:extLst>
              <a:ext uri="{FF2B5EF4-FFF2-40B4-BE49-F238E27FC236}">
                <a16:creationId xmlns:a16="http://schemas.microsoft.com/office/drawing/2014/main" xmlns="" id="{D2220F80-1581-F52D-31A7-4BB7C9F85782}"/>
              </a:ext>
            </a:extLst>
          </p:cNvPr>
          <p:cNvSpPr txBox="1"/>
          <p:nvPr/>
        </p:nvSpPr>
        <p:spPr>
          <a:xfrm>
            <a:off x="11072515" y="7093730"/>
            <a:ext cx="972001" cy="232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13" dirty="0"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IVA DUAL</a:t>
            </a:r>
          </a:p>
        </p:txBody>
      </p:sp>
      <p:sp>
        <p:nvSpPr>
          <p:cNvPr id="3117" name="Retângulo 3116">
            <a:extLst>
              <a:ext uri="{FF2B5EF4-FFF2-40B4-BE49-F238E27FC236}">
                <a16:creationId xmlns:a16="http://schemas.microsoft.com/office/drawing/2014/main" xmlns="" id="{AEF8EFE9-452C-5DB6-CF77-2E7418FA407D}"/>
              </a:ext>
            </a:extLst>
          </p:cNvPr>
          <p:cNvSpPr>
            <a:spLocks noChangeAspect="1"/>
          </p:cNvSpPr>
          <p:nvPr/>
        </p:nvSpPr>
        <p:spPr>
          <a:xfrm>
            <a:off x="6922170" y="10000778"/>
            <a:ext cx="215807" cy="216000"/>
          </a:xfrm>
          <a:prstGeom prst="rect">
            <a:avLst/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98" b="1" dirty="0">
              <a:latin typeface="Helvetica" panose="020B0604020202020204" pitchFamily="2" charset="0"/>
            </a:endParaRPr>
          </a:p>
        </p:txBody>
      </p:sp>
      <p:sp>
        <p:nvSpPr>
          <p:cNvPr id="3118" name="Retângulo 3117">
            <a:extLst>
              <a:ext uri="{FF2B5EF4-FFF2-40B4-BE49-F238E27FC236}">
                <a16:creationId xmlns:a16="http://schemas.microsoft.com/office/drawing/2014/main" xmlns="" id="{90977EDA-546A-75A2-FE6B-30D36F4F23E9}"/>
              </a:ext>
            </a:extLst>
          </p:cNvPr>
          <p:cNvSpPr>
            <a:spLocks noChangeAspect="1"/>
          </p:cNvSpPr>
          <p:nvPr/>
        </p:nvSpPr>
        <p:spPr>
          <a:xfrm>
            <a:off x="5275812" y="10000621"/>
            <a:ext cx="215807" cy="216000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98" b="1" dirty="0">
              <a:latin typeface="Helvetica" panose="020B0604020202020204" pitchFamily="2" charset="0"/>
            </a:endParaRPr>
          </a:p>
        </p:txBody>
      </p:sp>
      <p:sp>
        <p:nvSpPr>
          <p:cNvPr id="3119" name="CaixaDeTexto 3118">
            <a:extLst>
              <a:ext uri="{FF2B5EF4-FFF2-40B4-BE49-F238E27FC236}">
                <a16:creationId xmlns:a16="http://schemas.microsoft.com/office/drawing/2014/main" xmlns="" id="{8CC1B27D-6BD8-AF25-CCF0-E2E31BA9C62C}"/>
              </a:ext>
            </a:extLst>
          </p:cNvPr>
          <p:cNvSpPr txBox="1"/>
          <p:nvPr/>
        </p:nvSpPr>
        <p:spPr>
          <a:xfrm>
            <a:off x="7145867" y="9920446"/>
            <a:ext cx="2880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000" dirty="0"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Não incidente</a:t>
            </a:r>
          </a:p>
        </p:txBody>
      </p:sp>
      <p:sp>
        <p:nvSpPr>
          <p:cNvPr id="3120" name="CaixaDeTexto 3119">
            <a:extLst>
              <a:ext uri="{FF2B5EF4-FFF2-40B4-BE49-F238E27FC236}">
                <a16:creationId xmlns:a16="http://schemas.microsoft.com/office/drawing/2014/main" xmlns="" id="{3AB4094A-AF80-792E-5E14-1C342F22F3F5}"/>
              </a:ext>
            </a:extLst>
          </p:cNvPr>
          <p:cNvSpPr txBox="1"/>
          <p:nvPr/>
        </p:nvSpPr>
        <p:spPr>
          <a:xfrm>
            <a:off x="5491619" y="9910779"/>
            <a:ext cx="14384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000" dirty="0"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Incidente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xmlns="" id="{9F56BEC4-F5DD-0E0A-29DD-ACAFB7D9E2F9}"/>
              </a:ext>
            </a:extLst>
          </p:cNvPr>
          <p:cNvSpPr txBox="1"/>
          <p:nvPr/>
        </p:nvSpPr>
        <p:spPr>
          <a:xfrm>
            <a:off x="876879" y="1851138"/>
            <a:ext cx="1846125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Atualmente, o setor de saneamento é contribuinte apenas do PIS/COFINS. 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Os custos (CAPEX e OPEX) do setor incorporam a cumulatividade do ISS e do ICMS embutidos nos preços dos insumos, mercadorias e serviços utilizados. 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Na proposta atual, a alíquota do setor salta de 9,25% (PIS/COFINS) para alíquota estimada de 27% (IBS/ CBS). </a:t>
            </a:r>
          </a:p>
        </p:txBody>
      </p:sp>
      <p:sp>
        <p:nvSpPr>
          <p:cNvPr id="20" name="Retângulo Arredondado 19">
            <a:extLst>
              <a:ext uri="{FF2B5EF4-FFF2-40B4-BE49-F238E27FC236}">
                <a16:creationId xmlns:a16="http://schemas.microsoft.com/office/drawing/2014/main" xmlns="" id="{7264C088-9DAF-6261-F978-51FAF149C328}"/>
              </a:ext>
            </a:extLst>
          </p:cNvPr>
          <p:cNvSpPr/>
          <p:nvPr/>
        </p:nvSpPr>
        <p:spPr>
          <a:xfrm>
            <a:off x="876879" y="5435877"/>
            <a:ext cx="5400691" cy="4358094"/>
          </a:xfrm>
          <a:prstGeom prst="roundRect">
            <a:avLst>
              <a:gd name="adj" fmla="val 10750"/>
            </a:avLst>
          </a:prstGeom>
          <a:noFill/>
          <a:ln>
            <a:solidFill>
              <a:srgbClr val="9CC42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55"/>
          </a:p>
        </p:txBody>
      </p:sp>
      <p:sp>
        <p:nvSpPr>
          <p:cNvPr id="21" name="Retângulo: Cantos Arredondados 3078">
            <a:extLst>
              <a:ext uri="{FF2B5EF4-FFF2-40B4-BE49-F238E27FC236}">
                <a16:creationId xmlns:a16="http://schemas.microsoft.com/office/drawing/2014/main" xmlns="" id="{7BCC1B49-D6D1-7CBE-AA7C-6C29D2AD3BF9}"/>
              </a:ext>
            </a:extLst>
          </p:cNvPr>
          <p:cNvSpPr/>
          <p:nvPr/>
        </p:nvSpPr>
        <p:spPr>
          <a:xfrm>
            <a:off x="1976778" y="5153582"/>
            <a:ext cx="3273132" cy="519820"/>
          </a:xfrm>
          <a:prstGeom prst="roundRect">
            <a:avLst>
              <a:gd name="adj" fmla="val 27959"/>
            </a:avLst>
          </a:prstGeom>
          <a:solidFill>
            <a:srgbClr val="9CC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55" b="1" dirty="0">
                <a:latin typeface="Helvetica" panose="020B0604020202020204" pitchFamily="2" charset="0"/>
              </a:rPr>
              <a:t>Regime atual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B3E161EF-8694-A1BD-2FFF-B3788D97C915}"/>
              </a:ext>
            </a:extLst>
          </p:cNvPr>
          <p:cNvSpPr txBox="1"/>
          <p:nvPr/>
        </p:nvSpPr>
        <p:spPr>
          <a:xfrm>
            <a:off x="1235509" y="947837"/>
            <a:ext cx="8154212" cy="737890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411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Impacto da Reforma no setor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xmlns="" id="{F247EFAF-36A3-A893-8FE4-8D8B482F062B}"/>
              </a:ext>
            </a:extLst>
          </p:cNvPr>
          <p:cNvSpPr txBox="1"/>
          <p:nvPr/>
        </p:nvSpPr>
        <p:spPr>
          <a:xfrm>
            <a:off x="2381293" y="5984135"/>
            <a:ext cx="2356347" cy="30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70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Tributos Federais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xmlns="" id="{4A2CDD3F-52CA-34FC-930B-C7F6AA8DCC76}"/>
              </a:ext>
            </a:extLst>
          </p:cNvPr>
          <p:cNvSpPr/>
          <p:nvPr/>
        </p:nvSpPr>
        <p:spPr>
          <a:xfrm>
            <a:off x="2137827" y="7714102"/>
            <a:ext cx="1331407" cy="519820"/>
          </a:xfrm>
          <a:prstGeom prst="rect">
            <a:avLst/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98" b="1" dirty="0">
                <a:latin typeface="Helvetica" panose="020B0604020202020204" pitchFamily="2" charset="0"/>
              </a:rPr>
              <a:t>ICMS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xmlns="" id="{14CC7254-19D1-58D2-51FD-34E8E10FB9AD}"/>
              </a:ext>
            </a:extLst>
          </p:cNvPr>
          <p:cNvSpPr/>
          <p:nvPr/>
        </p:nvSpPr>
        <p:spPr>
          <a:xfrm>
            <a:off x="3659874" y="7714102"/>
            <a:ext cx="1331407" cy="519820"/>
          </a:xfrm>
          <a:prstGeom prst="rect">
            <a:avLst/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sz="1598" b="1" dirty="0">
                <a:latin typeface="Helvetica" panose="020B0604020202020204" pitchFamily="2" charset="0"/>
              </a:rPr>
              <a:t>ISS</a:t>
            </a:r>
          </a:p>
        </p:txBody>
      </p:sp>
      <p:pic>
        <p:nvPicPr>
          <p:cNvPr id="26" name="Gráfico 25" descr="Adicionar com preenchimento sólido">
            <a:extLst>
              <a:ext uri="{FF2B5EF4-FFF2-40B4-BE49-F238E27FC236}">
                <a16:creationId xmlns:a16="http://schemas.microsoft.com/office/drawing/2014/main" xmlns="" id="{953ACE46-A231-E7F2-03EC-1884BB3678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398350" y="7819349"/>
            <a:ext cx="328471" cy="328471"/>
          </a:xfrm>
          <a:prstGeom prst="rect">
            <a:avLst/>
          </a:prstGeom>
        </p:spPr>
      </p:pic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2DF54D69-0D5F-C8FD-99C4-556FA156E487}"/>
              </a:ext>
            </a:extLst>
          </p:cNvPr>
          <p:cNvSpPr txBox="1"/>
          <p:nvPr/>
        </p:nvSpPr>
        <p:spPr>
          <a:xfrm>
            <a:off x="2094378" y="7345250"/>
            <a:ext cx="2936411" cy="30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70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Tributos Estaduais e Municipais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xmlns="" id="{39552E46-D685-739E-F5C0-F39A5808A778}"/>
              </a:ext>
            </a:extLst>
          </p:cNvPr>
          <p:cNvSpPr txBox="1"/>
          <p:nvPr/>
        </p:nvSpPr>
        <p:spPr>
          <a:xfrm>
            <a:off x="2094378" y="8620827"/>
            <a:ext cx="2936411" cy="30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70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Alíquota</a:t>
            </a:r>
          </a:p>
        </p:txBody>
      </p:sp>
      <p:sp>
        <p:nvSpPr>
          <p:cNvPr id="57" name="Retângulo 56">
            <a:extLst>
              <a:ext uri="{FF2B5EF4-FFF2-40B4-BE49-F238E27FC236}">
                <a16:creationId xmlns:a16="http://schemas.microsoft.com/office/drawing/2014/main" xmlns="" id="{9C46926F-677D-CDC1-2A82-FBED5AFCDB8A}"/>
              </a:ext>
            </a:extLst>
          </p:cNvPr>
          <p:cNvSpPr/>
          <p:nvPr/>
        </p:nvSpPr>
        <p:spPr>
          <a:xfrm>
            <a:off x="7502103" y="6357174"/>
            <a:ext cx="3654116" cy="519820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98" b="1" dirty="0">
                <a:latin typeface="Helvetica" panose="020B0604020202020204" pitchFamily="2" charset="0"/>
              </a:rPr>
              <a:t>CBS</a:t>
            </a:r>
          </a:p>
        </p:txBody>
      </p:sp>
      <p:sp>
        <p:nvSpPr>
          <p:cNvPr id="3078" name="CaixaDeTexto 3077">
            <a:extLst>
              <a:ext uri="{FF2B5EF4-FFF2-40B4-BE49-F238E27FC236}">
                <a16:creationId xmlns:a16="http://schemas.microsoft.com/office/drawing/2014/main" xmlns="" id="{D45A6CD2-6AEF-0691-A10C-5552B8C0E625}"/>
              </a:ext>
            </a:extLst>
          </p:cNvPr>
          <p:cNvSpPr txBox="1"/>
          <p:nvPr/>
        </p:nvSpPr>
        <p:spPr>
          <a:xfrm>
            <a:off x="8747855" y="8852234"/>
            <a:ext cx="1685988" cy="724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55" b="1" dirty="0">
                <a:solidFill>
                  <a:srgbClr val="00A69C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Estimada em 27%</a:t>
            </a:r>
          </a:p>
        </p:txBody>
      </p:sp>
      <p:sp>
        <p:nvSpPr>
          <p:cNvPr id="3080" name="Retângulo Arredondado 3079">
            <a:extLst>
              <a:ext uri="{FF2B5EF4-FFF2-40B4-BE49-F238E27FC236}">
                <a16:creationId xmlns:a16="http://schemas.microsoft.com/office/drawing/2014/main" xmlns="" id="{F474BA86-BF9C-C229-F934-D1D79CDDCD73}"/>
              </a:ext>
            </a:extLst>
          </p:cNvPr>
          <p:cNvSpPr/>
          <p:nvPr/>
        </p:nvSpPr>
        <p:spPr>
          <a:xfrm>
            <a:off x="6890503" y="5435877"/>
            <a:ext cx="5400691" cy="4358094"/>
          </a:xfrm>
          <a:prstGeom prst="roundRect">
            <a:avLst>
              <a:gd name="adj" fmla="val 10750"/>
            </a:avLst>
          </a:prstGeom>
          <a:noFill/>
          <a:ln>
            <a:solidFill>
              <a:srgbClr val="288BB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55"/>
          </a:p>
        </p:txBody>
      </p:sp>
      <p:sp>
        <p:nvSpPr>
          <p:cNvPr id="3082" name="Retângulo: Cantos Arredondados 3078">
            <a:extLst>
              <a:ext uri="{FF2B5EF4-FFF2-40B4-BE49-F238E27FC236}">
                <a16:creationId xmlns:a16="http://schemas.microsoft.com/office/drawing/2014/main" xmlns="" id="{3F94FF31-88AE-ADA9-E363-3255A34E097F}"/>
              </a:ext>
            </a:extLst>
          </p:cNvPr>
          <p:cNvSpPr/>
          <p:nvPr/>
        </p:nvSpPr>
        <p:spPr>
          <a:xfrm>
            <a:off x="7990403" y="5153582"/>
            <a:ext cx="3273132" cy="519820"/>
          </a:xfrm>
          <a:prstGeom prst="roundRect">
            <a:avLst>
              <a:gd name="adj" fmla="val 27959"/>
            </a:avLst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55" b="1" dirty="0">
                <a:latin typeface="Helvetica" panose="020B0604020202020204" pitchFamily="2" charset="0"/>
              </a:rPr>
              <a:t>Regime proposto</a:t>
            </a:r>
          </a:p>
        </p:txBody>
      </p:sp>
      <p:sp>
        <p:nvSpPr>
          <p:cNvPr id="3083" name="CaixaDeTexto 3082">
            <a:extLst>
              <a:ext uri="{FF2B5EF4-FFF2-40B4-BE49-F238E27FC236}">
                <a16:creationId xmlns:a16="http://schemas.microsoft.com/office/drawing/2014/main" xmlns="" id="{948A0AE1-6C85-9C01-97C7-2067E61338A0}"/>
              </a:ext>
            </a:extLst>
          </p:cNvPr>
          <p:cNvSpPr txBox="1"/>
          <p:nvPr/>
        </p:nvSpPr>
        <p:spPr>
          <a:xfrm>
            <a:off x="8158303" y="5984135"/>
            <a:ext cx="2356347" cy="30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70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Tributos Federais</a:t>
            </a:r>
          </a:p>
        </p:txBody>
      </p:sp>
      <p:pic>
        <p:nvPicPr>
          <p:cNvPr id="3107" name="Gráfico 3106" descr="Adicionar com preenchimento sólido">
            <a:extLst>
              <a:ext uri="{FF2B5EF4-FFF2-40B4-BE49-F238E27FC236}">
                <a16:creationId xmlns:a16="http://schemas.microsoft.com/office/drawing/2014/main" xmlns="" id="{C2527BE5-136B-B223-53BC-A50E6325723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164925" y="6984135"/>
            <a:ext cx="328471" cy="328471"/>
          </a:xfrm>
          <a:prstGeom prst="rect">
            <a:avLst/>
          </a:prstGeom>
        </p:spPr>
      </p:pic>
      <p:sp>
        <p:nvSpPr>
          <p:cNvPr id="3108" name="CaixaDeTexto 3107">
            <a:extLst>
              <a:ext uri="{FF2B5EF4-FFF2-40B4-BE49-F238E27FC236}">
                <a16:creationId xmlns:a16="http://schemas.microsoft.com/office/drawing/2014/main" xmlns="" id="{1EF59B84-0D9B-1816-6F94-26F1AE7D6E20}"/>
              </a:ext>
            </a:extLst>
          </p:cNvPr>
          <p:cNvSpPr txBox="1"/>
          <p:nvPr/>
        </p:nvSpPr>
        <p:spPr>
          <a:xfrm>
            <a:off x="7842391" y="7345250"/>
            <a:ext cx="2936411" cy="30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70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Tributos Estaduais e Municipais</a:t>
            </a:r>
          </a:p>
        </p:txBody>
      </p:sp>
      <p:sp>
        <p:nvSpPr>
          <p:cNvPr id="3109" name="CaixaDeTexto 3108">
            <a:extLst>
              <a:ext uri="{FF2B5EF4-FFF2-40B4-BE49-F238E27FC236}">
                <a16:creationId xmlns:a16="http://schemas.microsoft.com/office/drawing/2014/main" xmlns="" id="{C43106C4-5388-D1E5-A67B-48721E718328}"/>
              </a:ext>
            </a:extLst>
          </p:cNvPr>
          <p:cNvSpPr txBox="1"/>
          <p:nvPr/>
        </p:nvSpPr>
        <p:spPr>
          <a:xfrm>
            <a:off x="8108003" y="8620827"/>
            <a:ext cx="2936411" cy="30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70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Alíquota</a:t>
            </a:r>
          </a:p>
        </p:txBody>
      </p:sp>
      <p:sp>
        <p:nvSpPr>
          <p:cNvPr id="3111" name="Retângulo 3110">
            <a:extLst>
              <a:ext uri="{FF2B5EF4-FFF2-40B4-BE49-F238E27FC236}">
                <a16:creationId xmlns:a16="http://schemas.microsoft.com/office/drawing/2014/main" xmlns="" id="{3C086F26-DE23-BDE6-9E03-2C7FF239160B}"/>
              </a:ext>
            </a:extLst>
          </p:cNvPr>
          <p:cNvSpPr/>
          <p:nvPr/>
        </p:nvSpPr>
        <p:spPr>
          <a:xfrm>
            <a:off x="7502103" y="7691044"/>
            <a:ext cx="3654116" cy="519820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98" b="1" dirty="0">
                <a:latin typeface="Helvetica" panose="020B0604020202020204" pitchFamily="2" charset="0"/>
              </a:rPr>
              <a:t>IBS</a:t>
            </a:r>
          </a:p>
        </p:txBody>
      </p:sp>
    </p:spTree>
    <p:extLst>
      <p:ext uri="{BB962C8B-B14F-4D97-AF65-F5344CB8AC3E}">
        <p14:creationId xmlns:p14="http://schemas.microsoft.com/office/powerpoint/2010/main" val="3125512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aixaDeTexto 16">
            <a:extLst>
              <a:ext uri="{FF2B5EF4-FFF2-40B4-BE49-F238E27FC236}">
                <a16:creationId xmlns:a16="http://schemas.microsoft.com/office/drawing/2014/main" xmlns="" id="{9F56BEC4-F5DD-0E0A-29DD-ACAFB7D9E2F9}"/>
              </a:ext>
            </a:extLst>
          </p:cNvPr>
          <p:cNvSpPr txBox="1"/>
          <p:nvPr/>
        </p:nvSpPr>
        <p:spPr>
          <a:xfrm>
            <a:off x="1238447" y="1977655"/>
            <a:ext cx="17373404" cy="4493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b="1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Para manutenção do ritmo de investimentos e da prestação dos serviços, as tarifas </a:t>
            </a:r>
            <a:r>
              <a:rPr lang="pt-BR" sz="2800" b="1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de água e esgoto </a:t>
            </a:r>
            <a:r>
              <a:rPr lang="pt-BR" sz="2800" b="1" u="sng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precisar</a:t>
            </a:r>
            <a:r>
              <a:rPr lang="pt-BR" sz="2800" b="1" u="sng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ão ser reajustados em 18% </a:t>
            </a:r>
            <a:r>
              <a:rPr lang="pt-BR" sz="2800" b="1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com forte risco de aumento de inadimplência.</a:t>
            </a:r>
            <a:endParaRPr lang="pt-BR" sz="2800" dirty="0">
              <a:effectLst/>
              <a:latin typeface="Helvetica" panose="020B0604020202020204" pitchFamily="2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b="1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Cerca de 90% dos consumidores</a:t>
            </a:r>
            <a:r>
              <a:rPr lang="pt-BR" sz="2800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 de serviços de água e esgoto são </a:t>
            </a: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residenciais,</a:t>
            </a:r>
            <a:r>
              <a:rPr lang="pt-BR" sz="2800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 isto é, os consumidores finais arcarão com a majoração de preços.</a:t>
            </a: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Os pequenos comércios e indústrias enquadrados no Simples Nacional também experimentarão aumento no preço dos serviços sem aproveitamento de crédito.</a:t>
            </a:r>
            <a:endParaRPr lang="pt-BR" sz="2800" dirty="0">
              <a:effectLst/>
              <a:latin typeface="Helvetica" panose="020B0604020202020204" pitchFamily="2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Na hipótese de não repasse dos custos tributários às tarifas, </a:t>
            </a:r>
            <a:r>
              <a:rPr lang="pt-BR" sz="2800" b="1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ocorreria redução dos investimentos para universalização de cerca de </a:t>
            </a:r>
            <a:r>
              <a:rPr lang="pt-BR" sz="2800" b="1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26</a:t>
            </a:r>
            <a:r>
              <a:rPr lang="pt-BR" sz="2800" b="1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%.</a:t>
            </a:r>
            <a:endParaRPr lang="pt-BR" sz="2800" b="1" dirty="0">
              <a:effectLst/>
              <a:latin typeface="Helvetica" panose="020B0604020202020204" pitchFamily="2" charset="0"/>
              <a:ea typeface="Yu Mincho" panose="02020400000000000000" pitchFamily="18" charset="-128"/>
              <a:cs typeface="Arial" panose="020B0604020202020204" pitchFamily="34" charset="0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B3E161EF-8694-A1BD-2FFF-B3788D97C915}"/>
              </a:ext>
            </a:extLst>
          </p:cNvPr>
          <p:cNvSpPr txBox="1"/>
          <p:nvPr/>
        </p:nvSpPr>
        <p:spPr>
          <a:xfrm>
            <a:off x="1235509" y="947837"/>
            <a:ext cx="10186470" cy="737890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411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Mantido o texto atual (PEC 45)...</a:t>
            </a:r>
          </a:p>
        </p:txBody>
      </p:sp>
    </p:spTree>
    <p:extLst>
      <p:ext uri="{BB962C8B-B14F-4D97-AF65-F5344CB8AC3E}">
        <p14:creationId xmlns:p14="http://schemas.microsoft.com/office/powerpoint/2010/main" val="284599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aixaDeTexto 16">
            <a:extLst>
              <a:ext uri="{FF2B5EF4-FFF2-40B4-BE49-F238E27FC236}">
                <a16:creationId xmlns:a16="http://schemas.microsoft.com/office/drawing/2014/main" xmlns="" id="{9F56BEC4-F5DD-0E0A-29DD-ACAFB7D9E2F9}"/>
              </a:ext>
            </a:extLst>
          </p:cNvPr>
          <p:cNvSpPr txBox="1"/>
          <p:nvPr/>
        </p:nvSpPr>
        <p:spPr>
          <a:xfrm>
            <a:off x="1238447" y="1977655"/>
            <a:ext cx="17373404" cy="1536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O setor de saneamento sofrerá com a demora no processamento e mensuração do impacto das medidas visto a descentralização da regulação agências reguladoras demoram a processar e a conceder os pleitos de reequilíbrio dos contratos de concessão. 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B3E161EF-8694-A1BD-2FFF-B3788D97C915}"/>
              </a:ext>
            </a:extLst>
          </p:cNvPr>
          <p:cNvSpPr txBox="1"/>
          <p:nvPr/>
        </p:nvSpPr>
        <p:spPr>
          <a:xfrm>
            <a:off x="1235508" y="947837"/>
            <a:ext cx="15509441" cy="737890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411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Adicionalmente, a regulação no setor é desafiadora....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xmlns="" id="{414E951F-D09F-BE9E-45EF-F853277AB32B}"/>
              </a:ext>
            </a:extLst>
          </p:cNvPr>
          <p:cNvSpPr txBox="1"/>
          <p:nvPr/>
        </p:nvSpPr>
        <p:spPr>
          <a:xfrm>
            <a:off x="1365348" y="8563311"/>
            <a:ext cx="17373404" cy="1536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Os projetos de saneamento são majoritariamente intensivo de capitais, portanto, atrasos nos reequilíbrios decorrentes das novas regras fiscais podem representar a inviabilização dos investimentos e na prestação dos serviços públicos contratados. 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xmlns="" id="{4E79AA0A-B34D-868F-2D7E-7402286603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389857"/>
              </p:ext>
            </p:extLst>
          </p:nvPr>
        </p:nvGraphicFramePr>
        <p:xfrm>
          <a:off x="5441949" y="3814810"/>
          <a:ext cx="7645401" cy="44481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993333">
                  <a:extLst>
                    <a:ext uri="{9D8B030D-6E8A-4147-A177-3AD203B41FA5}">
                      <a16:colId xmlns:a16="http://schemas.microsoft.com/office/drawing/2014/main" xmlns="" val="2888638750"/>
                    </a:ext>
                  </a:extLst>
                </a:gridCol>
                <a:gridCol w="2652068">
                  <a:extLst>
                    <a:ext uri="{9D8B030D-6E8A-4147-A177-3AD203B41FA5}">
                      <a16:colId xmlns:a16="http://schemas.microsoft.com/office/drawing/2014/main" xmlns="" val="803111532"/>
                    </a:ext>
                  </a:extLst>
                </a:gridCol>
              </a:tblGrid>
              <a:tr h="621935">
                <a:tc gridSpan="2">
                  <a:txBody>
                    <a:bodyPr/>
                    <a:lstStyle/>
                    <a:p>
                      <a:pPr marL="0" algn="ctr" fontAlgn="base"/>
                      <a:r>
                        <a:rPr lang="pt-BR" sz="2800" b="1" kern="1200" dirty="0">
                          <a:solidFill>
                            <a:schemeClr val="bg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AGÊNCIAS REGULADORAS DO SETOR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01135448"/>
                  </a:ext>
                </a:extLst>
              </a:tr>
              <a:tr h="1426623">
                <a:tc>
                  <a:txBody>
                    <a:bodyPr/>
                    <a:lstStyle/>
                    <a:p>
                      <a:pPr marL="0" algn="ctr" fontAlgn="base"/>
                      <a:r>
                        <a:rPr lang="pt-BR" sz="2800" b="1" kern="1200" dirty="0">
                          <a:solidFill>
                            <a:schemeClr val="bg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Abrangência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fontAlgn="base"/>
                      <a:r>
                        <a:rPr lang="pt-BR" sz="2800" b="1" kern="1200" dirty="0">
                          <a:solidFill>
                            <a:schemeClr val="bg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Quantidad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7790302"/>
                  </a:ext>
                </a:extLst>
              </a:tr>
              <a:tr h="592540">
                <a:tc>
                  <a:txBody>
                    <a:bodyPr/>
                    <a:lstStyle/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Municipa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47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21375821"/>
                  </a:ext>
                </a:extLst>
              </a:tr>
              <a:tr h="592540">
                <a:tc>
                  <a:txBody>
                    <a:bodyPr/>
                    <a:lstStyle/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Intermunicipa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38900146"/>
                  </a:ext>
                </a:extLst>
              </a:tr>
              <a:tr h="592540">
                <a:tc>
                  <a:txBody>
                    <a:bodyPr/>
                    <a:lstStyle/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Estadua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67939760"/>
                  </a:ext>
                </a:extLst>
              </a:tr>
              <a:tr h="621935">
                <a:tc>
                  <a:txBody>
                    <a:bodyPr/>
                    <a:lstStyle/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89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857850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82742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B3E161EF-8694-A1BD-2FFF-B3788D97C915}"/>
              </a:ext>
            </a:extLst>
          </p:cNvPr>
          <p:cNvSpPr txBox="1"/>
          <p:nvPr/>
        </p:nvSpPr>
        <p:spPr>
          <a:xfrm>
            <a:off x="678407" y="1123356"/>
            <a:ext cx="17838554" cy="737890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411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Qual caminho seguir para não impactar a tarifa e os investimentos?</a:t>
            </a:r>
          </a:p>
        </p:txBody>
      </p:sp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xmlns="" id="{6C94C42D-9EEF-F9E2-597E-8985A46274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130465"/>
              </p:ext>
            </p:extLst>
          </p:nvPr>
        </p:nvGraphicFramePr>
        <p:xfrm>
          <a:off x="781144" y="2344592"/>
          <a:ext cx="8724806" cy="55417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758757">
                  <a:extLst>
                    <a:ext uri="{9D8B030D-6E8A-4147-A177-3AD203B41FA5}">
                      <a16:colId xmlns:a16="http://schemas.microsoft.com/office/drawing/2014/main" xmlns="" val="2888638750"/>
                    </a:ext>
                  </a:extLst>
                </a:gridCol>
                <a:gridCol w="2966049">
                  <a:extLst>
                    <a:ext uri="{9D8B030D-6E8A-4147-A177-3AD203B41FA5}">
                      <a16:colId xmlns:a16="http://schemas.microsoft.com/office/drawing/2014/main" xmlns="" val="3840594087"/>
                    </a:ext>
                  </a:extLst>
                </a:gridCol>
              </a:tblGrid>
              <a:tr h="544597">
                <a:tc gridSpan="2">
                  <a:txBody>
                    <a:bodyPr/>
                    <a:lstStyle/>
                    <a:p>
                      <a:pPr marL="0" algn="ctr" fontAlgn="base"/>
                      <a:r>
                        <a:rPr lang="pt-BR" sz="2800" b="1" kern="1200" dirty="0">
                          <a:solidFill>
                            <a:schemeClr val="bg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CENÁRIOS DE IMPACTOS NO SETOR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3901135448"/>
                  </a:ext>
                </a:extLst>
              </a:tr>
              <a:tr h="1633792">
                <a:tc>
                  <a:txBody>
                    <a:bodyPr/>
                    <a:lstStyle/>
                    <a:p>
                      <a:pPr marL="0" algn="ctr" fontAlgn="base"/>
                      <a:r>
                        <a:rPr lang="pt-BR" sz="2800" b="1" kern="1200" dirty="0">
                          <a:solidFill>
                            <a:schemeClr val="bg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Cenári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fontAlgn="base"/>
                      <a:r>
                        <a:rPr lang="pt-BR" sz="2800" b="1" kern="1200" dirty="0">
                          <a:solidFill>
                            <a:schemeClr val="bg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Impacto na tarif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7790302"/>
                  </a:ext>
                </a:extLst>
              </a:tr>
              <a:tr h="1185019">
                <a:tc>
                  <a:txBody>
                    <a:bodyPr/>
                    <a:lstStyle/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Atual </a:t>
                      </a:r>
                    </a:p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(anterior à Reforma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21375821"/>
                  </a:ext>
                </a:extLst>
              </a:tr>
              <a:tr h="1089195">
                <a:tc>
                  <a:txBody>
                    <a:bodyPr/>
                    <a:lstStyle/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Após Reforma </a:t>
                      </a:r>
                    </a:p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(alíquota de 27%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18%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67939760"/>
                  </a:ext>
                </a:extLst>
              </a:tr>
              <a:tr h="1089195">
                <a:tc>
                  <a:txBody>
                    <a:bodyPr/>
                    <a:lstStyle/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Redução de 60% </a:t>
                      </a:r>
                    </a:p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(alíquota de 10,8%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+0,6%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85785039"/>
                  </a:ext>
                </a:extLst>
              </a:tr>
            </a:tbl>
          </a:graphicData>
        </a:graphic>
      </p:graphicFrame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0BFCC78C-1613-3158-FE30-EC8BD4CE0BA0}"/>
              </a:ext>
            </a:extLst>
          </p:cNvPr>
          <p:cNvSpPr txBox="1"/>
          <p:nvPr/>
        </p:nvSpPr>
        <p:spPr>
          <a:xfrm rot="20789483">
            <a:off x="-15390" y="8942582"/>
            <a:ext cx="6955924" cy="6920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3600" dirty="0">
                <a:solidFill>
                  <a:srgbClr val="FF0000"/>
                </a:solidFill>
                <a:latin typeface="+mj-lt"/>
                <a:ea typeface="Yu Mincho" panose="02020400000000000000" pitchFamily="18" charset="-128"/>
                <a:cs typeface="Times New Roman" panose="02020603050405020304" pitchFamily="18" charset="0"/>
              </a:rPr>
              <a:t>Cenário de Neutralidade</a:t>
            </a:r>
          </a:p>
        </p:txBody>
      </p:sp>
      <p:pic>
        <p:nvPicPr>
          <p:cNvPr id="8" name="Gráfico 7" descr="Seta de linha: curva no sentido horário estrutura de tópicos">
            <a:extLst>
              <a:ext uri="{FF2B5EF4-FFF2-40B4-BE49-F238E27FC236}">
                <a16:creationId xmlns:a16="http://schemas.microsoft.com/office/drawing/2014/main" xmlns="" id="{C693A8EB-3400-34C3-A27F-FD9F5C5BADE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7267372" flipH="1">
            <a:off x="1397629" y="7961385"/>
            <a:ext cx="1458050" cy="1458050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xmlns="" id="{E780335F-07B7-2D12-464A-FEDD360E8340}"/>
              </a:ext>
            </a:extLst>
          </p:cNvPr>
          <p:cNvSpPr txBox="1"/>
          <p:nvPr/>
        </p:nvSpPr>
        <p:spPr>
          <a:xfrm>
            <a:off x="10052050" y="2232296"/>
            <a:ext cx="9135850" cy="56209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800" b="1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Equiparação com o setor de saúde:</a:t>
            </a: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Com alíquotas reduzidas em 60%, a alíquota de IBS/CBS passaria de 27%, em conjunto, para 10,8%.</a:t>
            </a: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b="1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Assim, o impacto sobre a tarifa praticada ao consumidor se tornaria neutro. </a:t>
            </a: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A neutralidade na tarifa se deve especialmente à elevação do preço praticado na aquisição de insumos (bens e serviços) pelas concessionárias de água e esgoto, como efeito da tributação de IBS/CBS.</a:t>
            </a: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b="1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Emenda 114</a:t>
            </a:r>
          </a:p>
        </p:txBody>
      </p:sp>
    </p:spTree>
    <p:extLst>
      <p:ext uri="{BB962C8B-B14F-4D97-AF65-F5344CB8AC3E}">
        <p14:creationId xmlns:p14="http://schemas.microsoft.com/office/powerpoint/2010/main" val="548847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aixaDeTexto 23">
            <a:extLst>
              <a:ext uri="{FF2B5EF4-FFF2-40B4-BE49-F238E27FC236}">
                <a16:creationId xmlns:a16="http://schemas.microsoft.com/office/drawing/2014/main" xmlns="" id="{7736E661-5156-8FFC-D7D3-162F2E750149}"/>
              </a:ext>
            </a:extLst>
          </p:cNvPr>
          <p:cNvSpPr txBox="1"/>
          <p:nvPr/>
        </p:nvSpPr>
        <p:spPr>
          <a:xfrm>
            <a:off x="9121649" y="1442787"/>
            <a:ext cx="10463985" cy="737890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>
            <a:defPPr>
              <a:defRPr lang="pt-BR"/>
            </a:defPPr>
            <a:lvl1pPr>
              <a:defRPr sz="4110" b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defRPr>
            </a:lvl1pPr>
          </a:lstStyle>
          <a:p>
            <a:r>
              <a:rPr lang="pt-BR" dirty="0"/>
              <a:t>Por que essa alteração importa?</a:t>
            </a: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xmlns="" id="{EE88D618-62C1-A5A6-B3D9-46FE396250DC}"/>
              </a:ext>
            </a:extLst>
          </p:cNvPr>
          <p:cNvCxnSpPr>
            <a:cxnSpLocks/>
          </p:cNvCxnSpPr>
          <p:nvPr/>
        </p:nvCxnSpPr>
        <p:spPr>
          <a:xfrm>
            <a:off x="13023007" y="3728828"/>
            <a:ext cx="0" cy="5834272"/>
          </a:xfrm>
          <a:prstGeom prst="line">
            <a:avLst/>
          </a:prstGeom>
          <a:ln w="6350">
            <a:solidFill>
              <a:srgbClr val="9CC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Agrupar 57">
            <a:extLst>
              <a:ext uri="{FF2B5EF4-FFF2-40B4-BE49-F238E27FC236}">
                <a16:creationId xmlns:a16="http://schemas.microsoft.com/office/drawing/2014/main" xmlns="" id="{F12BDCC4-63F3-51C5-911B-071AF9386108}"/>
              </a:ext>
            </a:extLst>
          </p:cNvPr>
          <p:cNvGrpSpPr/>
          <p:nvPr/>
        </p:nvGrpSpPr>
        <p:grpSpPr>
          <a:xfrm>
            <a:off x="13576866" y="2784837"/>
            <a:ext cx="5039085" cy="7439163"/>
            <a:chOff x="8517346" y="3199659"/>
            <a:chExt cx="5039085" cy="7439163"/>
          </a:xfrm>
        </p:grpSpPr>
        <p:grpSp>
          <p:nvGrpSpPr>
            <p:cNvPr id="43" name="Agrupar 42">
              <a:extLst>
                <a:ext uri="{FF2B5EF4-FFF2-40B4-BE49-F238E27FC236}">
                  <a16:creationId xmlns:a16="http://schemas.microsoft.com/office/drawing/2014/main" xmlns="" id="{AA5B0C9C-CAC4-C0A1-A9C1-9E06D7F0BDDD}"/>
                </a:ext>
              </a:extLst>
            </p:cNvPr>
            <p:cNvGrpSpPr/>
            <p:nvPr/>
          </p:nvGrpSpPr>
          <p:grpSpPr>
            <a:xfrm>
              <a:off x="8517346" y="3199659"/>
              <a:ext cx="5039085" cy="7439163"/>
              <a:chOff x="12162631" y="2338284"/>
              <a:chExt cx="4413975" cy="6516315"/>
            </a:xfrm>
          </p:grpSpPr>
          <p:sp>
            <p:nvSpPr>
              <p:cNvPr id="38" name="CaixaDeTexto 37">
                <a:extLst>
                  <a:ext uri="{FF2B5EF4-FFF2-40B4-BE49-F238E27FC236}">
                    <a16:creationId xmlns:a16="http://schemas.microsoft.com/office/drawing/2014/main" xmlns="" id="{4D294672-6A8C-0F2D-6699-88D07701BD96}"/>
                  </a:ext>
                </a:extLst>
              </p:cNvPr>
              <p:cNvSpPr txBox="1"/>
              <p:nvPr/>
            </p:nvSpPr>
            <p:spPr>
              <a:xfrm>
                <a:off x="12162631" y="3145427"/>
                <a:ext cx="4136437" cy="2678265"/>
              </a:xfrm>
              <a:prstGeom prst="rect">
                <a:avLst/>
              </a:prstGeom>
              <a:noFill/>
            </p:spPr>
            <p:txBody>
              <a:bodyPr wrap="square" lIns="104390" tIns="52195" rIns="104390" bIns="52195" rtlCol="0" anchor="t">
                <a:spAutoFit/>
              </a:bodyPr>
              <a:lstStyle/>
              <a:p>
                <a:pPr algn="ctr"/>
                <a:r>
                  <a:rPr lang="pt-BR" sz="2740" b="1" dirty="0">
                    <a:solidFill>
                      <a:srgbClr val="288BB3"/>
                    </a:solidFill>
                    <a:latin typeface="Helvetica" pitchFamily="2" charset="0"/>
                  </a:rPr>
                  <a:t>R$ 1,4 trilhão </a:t>
                </a:r>
              </a:p>
              <a:p>
                <a:pPr algn="ctr"/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será o ganho no PIB do Brasil até 2033</a:t>
                </a:r>
              </a:p>
              <a:p>
                <a:pPr algn="ctr"/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a partir dos investimentos necessários para</a:t>
                </a:r>
              </a:p>
              <a:p>
                <a:pPr algn="ctr"/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a universalização.</a:t>
                </a:r>
              </a:p>
              <a:p>
                <a:pPr algn="ctr"/>
                <a:endParaRPr lang="pt-BR" sz="1827" dirty="0">
                  <a:solidFill>
                    <a:srgbClr val="288BB3"/>
                  </a:solidFill>
                  <a:latin typeface="Helvetica" pitchFamily="2" charset="0"/>
                </a:endParaRPr>
              </a:p>
              <a:p>
                <a:pPr algn="ctr"/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Estima-se que o setor de saneamento irá </a:t>
                </a:r>
                <a:r>
                  <a:rPr lang="pt-BR" sz="1827" b="1" dirty="0">
                    <a:solidFill>
                      <a:srgbClr val="288BB3"/>
                    </a:solidFill>
                    <a:latin typeface="Helvetica" pitchFamily="2" charset="0"/>
                  </a:rPr>
                  <a:t>criar R$ 1,5 milhão postos de trabalho </a:t>
                </a:r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diretos e indiretos até 2033 com os investimentos para a universalização.</a:t>
                </a:r>
              </a:p>
              <a:p>
                <a:pPr algn="ctr"/>
                <a:endParaRPr lang="pt-BR" sz="1827" dirty="0">
                  <a:solidFill>
                    <a:srgbClr val="288BB3"/>
                  </a:solidFill>
                  <a:latin typeface="Helvetica" pitchFamily="2" charset="0"/>
                </a:endParaRPr>
              </a:p>
            </p:txBody>
          </p:sp>
          <p:sp>
            <p:nvSpPr>
              <p:cNvPr id="39" name="CaixaDeTexto 38">
                <a:extLst>
                  <a:ext uri="{FF2B5EF4-FFF2-40B4-BE49-F238E27FC236}">
                    <a16:creationId xmlns:a16="http://schemas.microsoft.com/office/drawing/2014/main" xmlns="" id="{9F91A37E-E5EB-B205-A4B1-FA8E878FC6FA}"/>
                  </a:ext>
                </a:extLst>
              </p:cNvPr>
              <p:cNvSpPr txBox="1"/>
              <p:nvPr/>
            </p:nvSpPr>
            <p:spPr>
              <a:xfrm>
                <a:off x="12322210" y="2338284"/>
                <a:ext cx="3976858" cy="4502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2740" b="1" dirty="0">
                    <a:solidFill>
                      <a:srgbClr val="9CC42E"/>
                    </a:solidFill>
                    <a:latin typeface="Helvetica" pitchFamily="2" charset="0"/>
                  </a:rPr>
                  <a:t>Saneamento é economia</a:t>
                </a:r>
              </a:p>
            </p:txBody>
          </p:sp>
          <p:sp>
            <p:nvSpPr>
              <p:cNvPr id="40" name="Retângulo Arredondado 39">
                <a:extLst>
                  <a:ext uri="{FF2B5EF4-FFF2-40B4-BE49-F238E27FC236}">
                    <a16:creationId xmlns:a16="http://schemas.microsoft.com/office/drawing/2014/main" xmlns="" id="{B4DE373D-FDC1-B646-E5DC-0DB9FF9D7EF4}"/>
                  </a:ext>
                </a:extLst>
              </p:cNvPr>
              <p:cNvSpPr/>
              <p:nvPr/>
            </p:nvSpPr>
            <p:spPr>
              <a:xfrm>
                <a:off x="12193364" y="6331871"/>
                <a:ext cx="4383242" cy="2522728"/>
              </a:xfrm>
              <a:prstGeom prst="roundRect">
                <a:avLst>
                  <a:gd name="adj" fmla="val 6546"/>
                </a:avLst>
              </a:prstGeom>
              <a:solidFill>
                <a:srgbClr val="EBF0F3">
                  <a:alpha val="49707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 dirty="0"/>
              </a:p>
            </p:txBody>
          </p:sp>
          <p:sp>
            <p:nvSpPr>
              <p:cNvPr id="41" name="CaixaDeTexto 40">
                <a:extLst>
                  <a:ext uri="{FF2B5EF4-FFF2-40B4-BE49-F238E27FC236}">
                    <a16:creationId xmlns:a16="http://schemas.microsoft.com/office/drawing/2014/main" xmlns="" id="{06272426-EF99-D333-500A-AA0FED6703F2}"/>
                  </a:ext>
                </a:extLst>
              </p:cNvPr>
              <p:cNvSpPr txBox="1"/>
              <p:nvPr/>
            </p:nvSpPr>
            <p:spPr>
              <a:xfrm>
                <a:off x="12568312" y="6489541"/>
                <a:ext cx="3657600" cy="1927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Os investimentos em saneamento básico possuem grande potencial para estimular</a:t>
                </a: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a economia brasileira devido à extensa capilaridade da cadeia produtiva do setor</a:t>
                </a: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e da característica perene e local</a:t>
                </a: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dos investimentos.</a:t>
                </a:r>
              </a:p>
              <a:p>
                <a:pPr algn="ctr"/>
                <a:endParaRPr lang="pt-BR" sz="913" dirty="0">
                  <a:solidFill>
                    <a:srgbClr val="288BB3"/>
                  </a:solidFill>
                  <a:latin typeface="Helvetica" panose="020B0604020202020204" pitchFamily="2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Atrasar os investimentos significa adiar</a:t>
                </a: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a universalização e os seus ganhos.</a:t>
                </a:r>
              </a:p>
            </p:txBody>
          </p:sp>
        </p:grpSp>
        <p:sp>
          <p:nvSpPr>
            <p:cNvPr id="8" name="CaixaDeTexto 7">
              <a:extLst>
                <a:ext uri="{FF2B5EF4-FFF2-40B4-BE49-F238E27FC236}">
                  <a16:creationId xmlns:a16="http://schemas.microsoft.com/office/drawing/2014/main" xmlns="" id="{797BA3C1-B515-8472-D3B6-2A3E7351CEA1}"/>
                </a:ext>
              </a:extLst>
            </p:cNvPr>
            <p:cNvSpPr txBox="1"/>
            <p:nvPr/>
          </p:nvSpPr>
          <p:spPr>
            <a:xfrm>
              <a:off x="9971336" y="10318922"/>
              <a:ext cx="216086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100" dirty="0">
                  <a:solidFill>
                    <a:srgbClr val="288BB3"/>
                  </a:solidFill>
                  <a:latin typeface="Helvetica" panose="020B0604020202020204" pitchFamily="2" charset="0"/>
                  <a:ea typeface="Calibri" panose="020F0502020204030204" pitchFamily="34" charset="0"/>
                  <a:cs typeface="Arial" panose="020B0604020202020204" pitchFamily="34" charset="0"/>
                </a:rPr>
                <a:t>Fonte: ABCON SINDCON.</a:t>
              </a:r>
              <a:endParaRPr lang="pt-BR" sz="1100" dirty="0">
                <a:solidFill>
                  <a:srgbClr val="288BB3"/>
                </a:solidFill>
                <a:latin typeface="Helvetica" panose="020B0604020202020204" pitchFamily="2" charset="0"/>
              </a:endParaRPr>
            </a:p>
          </p:txBody>
        </p:sp>
      </p:grpSp>
      <p:grpSp>
        <p:nvGrpSpPr>
          <p:cNvPr id="59" name="Agrupar 58">
            <a:extLst>
              <a:ext uri="{FF2B5EF4-FFF2-40B4-BE49-F238E27FC236}">
                <a16:creationId xmlns:a16="http://schemas.microsoft.com/office/drawing/2014/main" xmlns="" id="{7BA43B0A-2E16-7E28-1E17-33BDD266E452}"/>
              </a:ext>
            </a:extLst>
          </p:cNvPr>
          <p:cNvGrpSpPr/>
          <p:nvPr/>
        </p:nvGrpSpPr>
        <p:grpSpPr>
          <a:xfrm>
            <a:off x="7632000" y="2780598"/>
            <a:ext cx="5004000" cy="8000783"/>
            <a:chOff x="14783575" y="3188881"/>
            <a:chExt cx="5004000" cy="5403706"/>
          </a:xfrm>
        </p:grpSpPr>
        <p:grpSp>
          <p:nvGrpSpPr>
            <p:cNvPr id="44" name="Agrupar 43">
              <a:extLst>
                <a:ext uri="{FF2B5EF4-FFF2-40B4-BE49-F238E27FC236}">
                  <a16:creationId xmlns:a16="http://schemas.microsoft.com/office/drawing/2014/main" xmlns="" id="{674FB50F-23C6-DFAC-A01A-CCFF6A893012}"/>
                </a:ext>
              </a:extLst>
            </p:cNvPr>
            <p:cNvGrpSpPr/>
            <p:nvPr/>
          </p:nvGrpSpPr>
          <p:grpSpPr>
            <a:xfrm>
              <a:off x="14783575" y="3188881"/>
              <a:ext cx="5004000" cy="5403706"/>
              <a:chOff x="6784702" y="2260783"/>
              <a:chExt cx="4383241" cy="4733363"/>
            </a:xfrm>
          </p:grpSpPr>
          <p:sp>
            <p:nvSpPr>
              <p:cNvPr id="31" name="CaixaDeTexto 30">
                <a:extLst>
                  <a:ext uri="{FF2B5EF4-FFF2-40B4-BE49-F238E27FC236}">
                    <a16:creationId xmlns:a16="http://schemas.microsoft.com/office/drawing/2014/main" xmlns="" id="{6424D2B9-0959-92DB-445E-668C5F2F7816}"/>
                  </a:ext>
                </a:extLst>
              </p:cNvPr>
              <p:cNvSpPr txBox="1"/>
              <p:nvPr/>
            </p:nvSpPr>
            <p:spPr>
              <a:xfrm>
                <a:off x="6976269" y="2733975"/>
                <a:ext cx="4014787" cy="2474260"/>
              </a:xfrm>
              <a:prstGeom prst="rect">
                <a:avLst/>
              </a:prstGeom>
              <a:noFill/>
            </p:spPr>
            <p:txBody>
              <a:bodyPr wrap="square" lIns="104390" tIns="52195" rIns="104390" bIns="52195" rtlCol="0" anchor="t">
                <a:spAutoFit/>
              </a:bodyPr>
              <a:lstStyle/>
              <a:p>
                <a:pPr algn="ctr"/>
                <a:r>
                  <a:rPr lang="pt-BR" sz="2740" b="1" dirty="0">
                    <a:solidFill>
                      <a:srgbClr val="288BB3"/>
                    </a:solidFill>
                    <a:latin typeface="Helvetica" pitchFamily="2" charset="0"/>
                  </a:rPr>
                  <a:t>R$ 25 bilhões </a:t>
                </a:r>
              </a:p>
              <a:p>
                <a:pPr algn="ctr"/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será a economia total com a melhoria das condições de saúde da população até</a:t>
                </a:r>
              </a:p>
              <a:p>
                <a:pPr algn="ctr"/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2040 devido à universalização.</a:t>
                </a:r>
              </a:p>
              <a:p>
                <a:pPr algn="ctr"/>
                <a:endParaRPr lang="pt-BR" sz="1827" dirty="0">
                  <a:solidFill>
                    <a:srgbClr val="288BB3"/>
                  </a:solidFill>
                  <a:latin typeface="Helvetica" pitchFamily="2" charset="0"/>
                </a:endParaRPr>
              </a:p>
              <a:p>
                <a:pPr algn="ctr"/>
                <a:r>
                  <a:rPr lang="pt-BR" sz="1827" b="1" dirty="0">
                    <a:solidFill>
                      <a:srgbClr val="288BB3"/>
                    </a:solidFill>
                    <a:latin typeface="Helvetica" pitchFamily="2" charset="0"/>
                  </a:rPr>
                  <a:t>Para cada US$ 1 investido em saneamento, a Organização Mundial da Saúde estima um retorno de quase seis vezes, </a:t>
                </a:r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considerando os menores custos de saúde, aumento da produtividade e um número menor de mortes prematuras.</a:t>
                </a:r>
              </a:p>
              <a:p>
                <a:pPr algn="ctr"/>
                <a:endParaRPr lang="pt-BR" sz="1827" dirty="0">
                  <a:solidFill>
                    <a:srgbClr val="288BB3"/>
                  </a:solidFill>
                  <a:latin typeface="Helvetica" pitchFamily="2" charset="0"/>
                </a:endParaRPr>
              </a:p>
              <a:p>
                <a:pPr algn="ctr"/>
                <a:endParaRPr lang="pt-BR" sz="1827" dirty="0">
                  <a:solidFill>
                    <a:srgbClr val="288BB3"/>
                  </a:solidFill>
                  <a:latin typeface="Helvetica" pitchFamily="2" charset="0"/>
                </a:endParaRPr>
              </a:p>
              <a:p>
                <a:pPr algn="ctr"/>
                <a:endParaRPr lang="pt-BR" sz="1827" dirty="0">
                  <a:solidFill>
                    <a:srgbClr val="288BB3"/>
                  </a:solidFill>
                  <a:latin typeface="Helvetica" pitchFamily="2" charset="0"/>
                </a:endParaRPr>
              </a:p>
            </p:txBody>
          </p:sp>
          <p:sp>
            <p:nvSpPr>
              <p:cNvPr id="32" name="CaixaDeTexto 31">
                <a:extLst>
                  <a:ext uri="{FF2B5EF4-FFF2-40B4-BE49-F238E27FC236}">
                    <a16:creationId xmlns:a16="http://schemas.microsoft.com/office/drawing/2014/main" xmlns="" id="{009E2584-C0D9-8489-C31A-367AC1407C83}"/>
                  </a:ext>
                </a:extLst>
              </p:cNvPr>
              <p:cNvSpPr txBox="1"/>
              <p:nvPr/>
            </p:nvSpPr>
            <p:spPr>
              <a:xfrm>
                <a:off x="6995231" y="2260783"/>
                <a:ext cx="3976858" cy="4502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2740" b="1" dirty="0">
                    <a:solidFill>
                      <a:srgbClr val="9CC42E"/>
                    </a:solidFill>
                    <a:latin typeface="Helvetica" pitchFamily="2" charset="0"/>
                  </a:rPr>
                  <a:t>Saneamento é saúde</a:t>
                </a:r>
              </a:p>
            </p:txBody>
          </p:sp>
          <p:sp>
            <p:nvSpPr>
              <p:cNvPr id="33" name="Retângulo Arredondado 32">
                <a:extLst>
                  <a:ext uri="{FF2B5EF4-FFF2-40B4-BE49-F238E27FC236}">
                    <a16:creationId xmlns:a16="http://schemas.microsoft.com/office/drawing/2014/main" xmlns="" id="{4481A23C-FA78-FEAD-E050-AAE287EECF37}"/>
                  </a:ext>
                </a:extLst>
              </p:cNvPr>
              <p:cNvSpPr/>
              <p:nvPr/>
            </p:nvSpPr>
            <p:spPr>
              <a:xfrm>
                <a:off x="6784702" y="4959911"/>
                <a:ext cx="4383241" cy="1703844"/>
              </a:xfrm>
              <a:prstGeom prst="roundRect">
                <a:avLst>
                  <a:gd name="adj" fmla="val 6546"/>
                </a:avLst>
              </a:prstGeom>
              <a:solidFill>
                <a:srgbClr val="EBF0F3">
                  <a:alpha val="49707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 dirty="0"/>
              </a:p>
            </p:txBody>
          </p:sp>
          <p:sp>
            <p:nvSpPr>
              <p:cNvPr id="34" name="CaixaDeTexto 33">
                <a:extLst>
                  <a:ext uri="{FF2B5EF4-FFF2-40B4-BE49-F238E27FC236}">
                    <a16:creationId xmlns:a16="http://schemas.microsoft.com/office/drawing/2014/main" xmlns="" id="{323A86EB-FD5C-F925-4954-5A4BA5A894B8}"/>
                  </a:ext>
                </a:extLst>
              </p:cNvPr>
              <p:cNvSpPr txBox="1"/>
              <p:nvPr/>
            </p:nvSpPr>
            <p:spPr>
              <a:xfrm>
                <a:off x="7154861" y="5067039"/>
                <a:ext cx="3657600" cy="1927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A falta de serviços de saneamento tem relação com a incidência de  doenças de veiculação hídrica e  respiratórias. Tais doenças geram custos à sociedade por provocarem afastamentos do trabalho</a:t>
                </a: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e despesas com saúde. </a:t>
                </a:r>
              </a:p>
              <a:p>
                <a:pPr algn="ctr"/>
                <a:endParaRPr lang="pt-BR" sz="913" dirty="0">
                  <a:solidFill>
                    <a:srgbClr val="288BB3"/>
                  </a:solidFill>
                  <a:latin typeface="Helvetica" panose="020B0604020202020204" pitchFamily="2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Aumentar a tributação do setor impacta</a:t>
                </a: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a própria despesa pública em saúde.</a:t>
                </a:r>
              </a:p>
            </p:txBody>
          </p:sp>
        </p:grp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xmlns="" id="{71120A61-FC3C-324A-CB9E-3BBED439A1A3}"/>
                </a:ext>
              </a:extLst>
            </p:cNvPr>
            <p:cNvSpPr txBox="1"/>
            <p:nvPr/>
          </p:nvSpPr>
          <p:spPr>
            <a:xfrm>
              <a:off x="16034853" y="7974722"/>
              <a:ext cx="2251948" cy="1766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100" dirty="0">
                  <a:solidFill>
                    <a:srgbClr val="288BB3"/>
                  </a:solidFill>
                  <a:latin typeface="Helvetica" panose="020B0604020202020204" pitchFamily="2" charset="0"/>
                  <a:ea typeface="Calibri" panose="020F0502020204030204" pitchFamily="34" charset="0"/>
                  <a:cs typeface="Arial" panose="020B0604020202020204" pitchFamily="34" charset="0"/>
                </a:rPr>
                <a:t>Fonte: Instituto Trata Brasil.</a:t>
              </a:r>
              <a:endParaRPr lang="pt-BR" sz="1100" dirty="0">
                <a:solidFill>
                  <a:srgbClr val="288BB3"/>
                </a:solidFill>
                <a:latin typeface="Helvetica" panose="020B0604020202020204" pitchFamily="2" charset="0"/>
              </a:endParaRPr>
            </a:p>
          </p:txBody>
        </p:sp>
      </p:grpSp>
      <p:sp>
        <p:nvSpPr>
          <p:cNvPr id="23" name="Elipse 22">
            <a:extLst>
              <a:ext uri="{FF2B5EF4-FFF2-40B4-BE49-F238E27FC236}">
                <a16:creationId xmlns:a16="http://schemas.microsoft.com/office/drawing/2014/main" xmlns="" id="{7BC90279-03A7-914C-8B7A-1A29BC36AB92}"/>
              </a:ext>
            </a:extLst>
          </p:cNvPr>
          <p:cNvSpPr/>
          <p:nvPr/>
        </p:nvSpPr>
        <p:spPr>
          <a:xfrm>
            <a:off x="241831" y="1064550"/>
            <a:ext cx="4390544" cy="4390544"/>
          </a:xfrm>
          <a:prstGeom prst="ellipse">
            <a:avLst/>
          </a:prstGeom>
          <a:solidFill>
            <a:srgbClr val="348F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776">
              <a:defRPr/>
            </a:pPr>
            <a:endParaRPr lang="en-US" sz="2968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7" name="Imagem 26" descr="Casa com jardim na frente&#10;&#10;Descrição gerada automaticamente">
            <a:extLst>
              <a:ext uri="{FF2B5EF4-FFF2-40B4-BE49-F238E27FC236}">
                <a16:creationId xmlns:a16="http://schemas.microsoft.com/office/drawing/2014/main" xmlns="" id="{9A21F574-E268-4A2B-D3F6-FEAFBD45C99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33" t="6082" r="19188"/>
          <a:stretch>
            <a:fillRect/>
          </a:stretch>
        </p:blipFill>
        <p:spPr>
          <a:xfrm>
            <a:off x="1536094" y="1022770"/>
            <a:ext cx="5754234" cy="5754234"/>
          </a:xfrm>
          <a:custGeom>
            <a:avLst/>
            <a:gdLst>
              <a:gd name="connsiteX0" fmla="*/ 2877117 w 5754234"/>
              <a:gd name="connsiteY0" fmla="*/ 0 h 5754234"/>
              <a:gd name="connsiteX1" fmla="*/ 5754234 w 5754234"/>
              <a:gd name="connsiteY1" fmla="*/ 2877117 h 5754234"/>
              <a:gd name="connsiteX2" fmla="*/ 2877117 w 5754234"/>
              <a:gd name="connsiteY2" fmla="*/ 5754234 h 5754234"/>
              <a:gd name="connsiteX3" fmla="*/ 0 w 5754234"/>
              <a:gd name="connsiteY3" fmla="*/ 2877117 h 5754234"/>
              <a:gd name="connsiteX4" fmla="*/ 2877117 w 5754234"/>
              <a:gd name="connsiteY4" fmla="*/ 0 h 5754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54234" h="5754234">
                <a:moveTo>
                  <a:pt x="2877117" y="0"/>
                </a:moveTo>
                <a:cubicBezTo>
                  <a:pt x="4466105" y="0"/>
                  <a:pt x="5754234" y="1288129"/>
                  <a:pt x="5754234" y="2877117"/>
                </a:cubicBezTo>
                <a:cubicBezTo>
                  <a:pt x="5754234" y="4466105"/>
                  <a:pt x="4466105" y="5754234"/>
                  <a:pt x="2877117" y="5754234"/>
                </a:cubicBezTo>
                <a:cubicBezTo>
                  <a:pt x="1288129" y="5754234"/>
                  <a:pt x="0" y="4466105"/>
                  <a:pt x="0" y="2877117"/>
                </a:cubicBezTo>
                <a:cubicBezTo>
                  <a:pt x="0" y="1288129"/>
                  <a:pt x="1288129" y="0"/>
                  <a:pt x="2877117" y="0"/>
                </a:cubicBez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xmlns="" id="{ED8E2DC6-8AA9-8452-A52A-DF7E903CD249}"/>
              </a:ext>
            </a:extLst>
          </p:cNvPr>
          <p:cNvCxnSpPr>
            <a:cxnSpLocks/>
          </p:cNvCxnSpPr>
          <p:nvPr/>
        </p:nvCxnSpPr>
        <p:spPr>
          <a:xfrm>
            <a:off x="4045675" y="2981888"/>
            <a:ext cx="586699" cy="0"/>
          </a:xfrm>
          <a:prstGeom prst="line">
            <a:avLst/>
          </a:prstGeom>
          <a:ln w="12700">
            <a:solidFill>
              <a:srgbClr val="2641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xmlns="" id="{1F3CAC54-3227-91D1-DD0E-30389CB76A0E}"/>
              </a:ext>
            </a:extLst>
          </p:cNvPr>
          <p:cNvCxnSpPr>
            <a:cxnSpLocks/>
          </p:cNvCxnSpPr>
          <p:nvPr/>
        </p:nvCxnSpPr>
        <p:spPr>
          <a:xfrm>
            <a:off x="2064064" y="2981888"/>
            <a:ext cx="1689533" cy="0"/>
          </a:xfrm>
          <a:prstGeom prst="line">
            <a:avLst/>
          </a:prstGeom>
          <a:ln w="12700">
            <a:solidFill>
              <a:srgbClr val="2641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>
            <a:extLst>
              <a:ext uri="{FF2B5EF4-FFF2-40B4-BE49-F238E27FC236}">
                <a16:creationId xmlns:a16="http://schemas.microsoft.com/office/drawing/2014/main" xmlns="" id="{0EE045C3-9CC1-5F07-018C-1D153C902628}"/>
              </a:ext>
            </a:extLst>
          </p:cNvPr>
          <p:cNvCxnSpPr>
            <a:cxnSpLocks/>
          </p:cNvCxnSpPr>
          <p:nvPr/>
        </p:nvCxnSpPr>
        <p:spPr>
          <a:xfrm>
            <a:off x="792566" y="2981888"/>
            <a:ext cx="838692" cy="0"/>
          </a:xfrm>
          <a:prstGeom prst="line">
            <a:avLst/>
          </a:prstGeom>
          <a:ln w="12700">
            <a:solidFill>
              <a:srgbClr val="2641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Elipse 34">
            <a:extLst>
              <a:ext uri="{FF2B5EF4-FFF2-40B4-BE49-F238E27FC236}">
                <a16:creationId xmlns:a16="http://schemas.microsoft.com/office/drawing/2014/main" xmlns="" id="{B58DFB08-D7AE-67BA-7EC8-76B0CF85A900}"/>
              </a:ext>
            </a:extLst>
          </p:cNvPr>
          <p:cNvSpPr/>
          <p:nvPr/>
        </p:nvSpPr>
        <p:spPr>
          <a:xfrm>
            <a:off x="1122829" y="2892807"/>
            <a:ext cx="178163" cy="178163"/>
          </a:xfrm>
          <a:prstGeom prst="ellipse">
            <a:avLst/>
          </a:prstGeom>
          <a:solidFill>
            <a:srgbClr val="C4BD97"/>
          </a:solidFill>
          <a:ln>
            <a:noFill/>
          </a:ln>
          <a:effectLst>
            <a:outerShdw blurRad="177800" dist="228600" dir="2700000" algn="tl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>
              <a:solidFill>
                <a:prstClr val="white"/>
              </a:solidFill>
              <a:latin typeface="Helvetica" panose="020B0604020202020204" pitchFamily="2" charset="0"/>
            </a:endParaRPr>
          </a:p>
        </p:txBody>
      </p:sp>
      <p:sp>
        <p:nvSpPr>
          <p:cNvPr id="37" name="Arco 36">
            <a:extLst>
              <a:ext uri="{FF2B5EF4-FFF2-40B4-BE49-F238E27FC236}">
                <a16:creationId xmlns:a16="http://schemas.microsoft.com/office/drawing/2014/main" xmlns="" id="{510B9A79-2165-52E0-A8DC-39F6189D0641}"/>
              </a:ext>
            </a:extLst>
          </p:cNvPr>
          <p:cNvSpPr/>
          <p:nvPr/>
        </p:nvSpPr>
        <p:spPr>
          <a:xfrm flipH="1">
            <a:off x="26406" y="2981888"/>
            <a:ext cx="724401" cy="724401"/>
          </a:xfrm>
          <a:prstGeom prst="arc">
            <a:avLst/>
          </a:prstGeom>
          <a:ln w="12700">
            <a:solidFill>
              <a:srgbClr val="2641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57">
              <a:defRPr/>
            </a:pPr>
            <a:endParaRPr lang="pt-BR" sz="1801">
              <a:solidFill>
                <a:prstClr val="black"/>
              </a:solidFill>
              <a:latin typeface="Helvetica" panose="020B0604020202020204" pitchFamily="2" charset="0"/>
            </a:endParaRPr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xmlns="" id="{67D56C1A-363E-82ED-3C22-D797BA7D9DA3}"/>
              </a:ext>
            </a:extLst>
          </p:cNvPr>
          <p:cNvSpPr/>
          <p:nvPr/>
        </p:nvSpPr>
        <p:spPr>
          <a:xfrm>
            <a:off x="4279421" y="2848098"/>
            <a:ext cx="267580" cy="267580"/>
          </a:xfrm>
          <a:prstGeom prst="ellipse">
            <a:avLst/>
          </a:prstGeom>
          <a:solidFill>
            <a:srgbClr val="C4BD97"/>
          </a:solidFill>
          <a:ln>
            <a:noFill/>
          </a:ln>
          <a:effectLst>
            <a:outerShdw blurRad="177800" dist="228600" dir="2700000" algn="tl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7">
              <a:defRPr/>
            </a:pPr>
            <a:endParaRPr lang="en-US" sz="1801">
              <a:solidFill>
                <a:prstClr val="white"/>
              </a:solidFill>
              <a:latin typeface="Helvetica" panose="020B0604020202020204" pitchFamily="2" charset="0"/>
            </a:endParaRPr>
          </a:p>
        </p:txBody>
      </p:sp>
      <p:sp>
        <p:nvSpPr>
          <p:cNvPr id="75" name="CaixaDeTexto 74">
            <a:extLst>
              <a:ext uri="{FF2B5EF4-FFF2-40B4-BE49-F238E27FC236}">
                <a16:creationId xmlns:a16="http://schemas.microsoft.com/office/drawing/2014/main" xmlns="" id="{F28316A4-1AA7-356D-9830-38E1383715BF}"/>
              </a:ext>
            </a:extLst>
          </p:cNvPr>
          <p:cNvSpPr txBox="1"/>
          <p:nvPr/>
        </p:nvSpPr>
        <p:spPr>
          <a:xfrm flipH="1">
            <a:off x="745799" y="8125974"/>
            <a:ext cx="5817775" cy="175804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28600" 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defRPr sz="3600">
                <a:solidFill>
                  <a:srgbClr val="FF0000"/>
                </a:solidFill>
                <a:latin typeface="+mj-lt"/>
                <a:ea typeface="Yu Mincho" panose="02020400000000000000" pitchFamily="18" charset="-128"/>
                <a:cs typeface="Times New Roman" panose="02020603050405020304" pitchFamily="18" charset="0"/>
              </a:defRPr>
            </a:lvl1pPr>
          </a:lstStyle>
          <a:p>
            <a:r>
              <a:rPr lang="pt-BR" sz="3200" dirty="0"/>
              <a:t>A falta de saneamento é responsável por quase 130 mil internações ao ano.</a:t>
            </a:r>
          </a:p>
        </p:txBody>
      </p:sp>
      <p:pic>
        <p:nvPicPr>
          <p:cNvPr id="76" name="Gráfico 75" descr="Seta de linha: curva no sentido horário estrutura de tópicos">
            <a:extLst>
              <a:ext uri="{FF2B5EF4-FFF2-40B4-BE49-F238E27FC236}">
                <a16:creationId xmlns:a16="http://schemas.microsoft.com/office/drawing/2014/main" xmlns="" id="{22B0D35E-27E9-BC61-1657-DB3C285548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 rot="16200000">
            <a:off x="6378063" y="7663691"/>
            <a:ext cx="1899409" cy="189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037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45" grpId="0" animBg="1"/>
      <p:bldP spid="7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hite Texture Images | Free Vectors, Stock Photos &amp;amp; PSD">
            <a:extLst>
              <a:ext uri="{FF2B5EF4-FFF2-40B4-BE49-F238E27FC236}">
                <a16:creationId xmlns:a16="http://schemas.microsoft.com/office/drawing/2014/main" xmlns="" id="{EF186FF3-C5DA-45E1-B63E-888991987C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34" b="9695"/>
          <a:stretch/>
        </p:blipFill>
        <p:spPr bwMode="auto">
          <a:xfrm>
            <a:off x="738" y="2907"/>
            <a:ext cx="20102656" cy="11305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object 8">
            <a:extLst>
              <a:ext uri="{FF2B5EF4-FFF2-40B4-BE49-F238E27FC236}">
                <a16:creationId xmlns:a16="http://schemas.microsoft.com/office/drawing/2014/main" xmlns="" id="{50AC309F-B96F-4201-9F8C-FC66673A9DE2}"/>
              </a:ext>
            </a:extLst>
          </p:cNvPr>
          <p:cNvPicPr/>
          <p:nvPr/>
        </p:nvPicPr>
        <p:blipFill rotWithShape="1">
          <a:blip r:embed="rId3" cstate="print"/>
          <a:srcRect l="25234" r="-25234"/>
          <a:stretch/>
        </p:blipFill>
        <p:spPr>
          <a:xfrm>
            <a:off x="3911101" y="3577221"/>
            <a:ext cx="17312118" cy="415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48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00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ee198d2-db16-44ea-916b-1ea011b34cea" xsi:nil="true"/>
    <lcf76f155ced4ddcb4097134ff3c332f xmlns="5db8b3d2-b774-433c-9081-e81924795c15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503565755BE847B8BF0A7C6F898FFE" ma:contentTypeVersion="17" ma:contentTypeDescription="Create a new document." ma:contentTypeScope="" ma:versionID="8ffba8b28547cefa81a1a99927af9028">
  <xsd:schema xmlns:xsd="http://www.w3.org/2001/XMLSchema" xmlns:xs="http://www.w3.org/2001/XMLSchema" xmlns:p="http://schemas.microsoft.com/office/2006/metadata/properties" xmlns:ns2="5db8b3d2-b774-433c-9081-e81924795c15" xmlns:ns3="1ee198d2-db16-44ea-916b-1ea011b34cea" targetNamespace="http://schemas.microsoft.com/office/2006/metadata/properties" ma:root="true" ma:fieldsID="a74804864f75678187d87a45d546c764" ns2:_="" ns3:_="">
    <xsd:import namespace="5db8b3d2-b774-433c-9081-e81924795c15"/>
    <xsd:import namespace="1ee198d2-db16-44ea-916b-1ea011b34c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b8b3d2-b774-433c-9081-e81924795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c635b15-4d96-416a-9cde-4e66189d13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e198d2-db16-44ea-916b-1ea011b34ce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54195d05-bd9a-4b00-9633-3c954bfc6488}" ma:internalName="TaxCatchAll" ma:showField="CatchAllData" ma:web="1ee198d2-db16-44ea-916b-1ea011b34ce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6652CA-003D-4B77-8A26-56C314097496}">
  <ds:schemaRefs>
    <ds:schemaRef ds:uri="http://purl.org/dc/elements/1.1/"/>
    <ds:schemaRef ds:uri="http://www.w3.org/XML/1998/namespace"/>
    <ds:schemaRef ds:uri="http://schemas.microsoft.com/office/infopath/2007/PartnerControls"/>
    <ds:schemaRef ds:uri="http://purl.org/dc/dcmitype/"/>
    <ds:schemaRef ds:uri="http://purl.org/dc/terms/"/>
    <ds:schemaRef ds:uri="http://schemas.microsoft.com/office/2006/documentManagement/types"/>
    <ds:schemaRef ds:uri="http://schemas.microsoft.com/office/2006/metadata/properties"/>
    <ds:schemaRef ds:uri="5db8b3d2-b774-433c-9081-e81924795c15"/>
    <ds:schemaRef ds:uri="http://schemas.openxmlformats.org/package/2006/metadata/core-properties"/>
    <ds:schemaRef ds:uri="1ee198d2-db16-44ea-916b-1ea011b34cea"/>
  </ds:schemaRefs>
</ds:datastoreItem>
</file>

<file path=customXml/itemProps2.xml><?xml version="1.0" encoding="utf-8"?>
<ds:datastoreItem xmlns:ds="http://schemas.openxmlformats.org/officeDocument/2006/customXml" ds:itemID="{BE5EC7F3-2999-455B-84C3-FA8B42EDD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b8b3d2-b774-433c-9081-e81924795c15"/>
    <ds:schemaRef ds:uri="1ee198d2-db16-44ea-916b-1ea011b34c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E33C979-5AD4-4781-8378-E474569D10B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96</TotalTime>
  <Words>1004</Words>
  <Application>Microsoft Office PowerPoint</Application>
  <PresentationFormat>Personalizar</PresentationFormat>
  <Paragraphs>144</Paragraphs>
  <Slides>9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21" baseType="lpstr">
      <vt:lpstr>Arial</vt:lpstr>
      <vt:lpstr>Calibri</vt:lpstr>
      <vt:lpstr>DIN Next Rounded LT Pro Bold</vt:lpstr>
      <vt:lpstr>DIN Next Rounded LT Pro Light</vt:lpstr>
      <vt:lpstr>Helvetica</vt:lpstr>
      <vt:lpstr>Segoe UI</vt:lpstr>
      <vt:lpstr>Segoe UI Black</vt:lpstr>
      <vt:lpstr>Times New Roman</vt:lpstr>
      <vt:lpstr>Wingdings</vt:lpstr>
      <vt:lpstr>Yu Mincho</vt:lpstr>
      <vt:lpstr>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NORAMA</dc:title>
  <dc:creator>IDEAPAD 330</dc:creator>
  <cp:lastModifiedBy>Ana Cristina Brasil Monteiro Costa</cp:lastModifiedBy>
  <cp:revision>4</cp:revision>
  <dcterms:created xsi:type="dcterms:W3CDTF">2021-08-09T21:15:57Z</dcterms:created>
  <dcterms:modified xsi:type="dcterms:W3CDTF">2023-09-19T12:3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8-09T00:00:00Z</vt:filetime>
  </property>
  <property fmtid="{D5CDD505-2E9C-101B-9397-08002B2CF9AE}" pid="3" name="Creator">
    <vt:lpwstr>Adobe InDesign 16.3 (Windows)</vt:lpwstr>
  </property>
  <property fmtid="{D5CDD505-2E9C-101B-9397-08002B2CF9AE}" pid="4" name="LastSaved">
    <vt:filetime>2021-08-09T00:00:00Z</vt:filetime>
  </property>
  <property fmtid="{D5CDD505-2E9C-101B-9397-08002B2CF9AE}" pid="5" name="ContentTypeId">
    <vt:lpwstr>0x01010017503565755BE847B8BF0A7C6F898FFE</vt:lpwstr>
  </property>
  <property fmtid="{D5CDD505-2E9C-101B-9397-08002B2CF9AE}" pid="6" name="MediaServiceImageTags">
    <vt:lpwstr/>
  </property>
</Properties>
</file>